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69" r:id="rId5"/>
    <p:sldId id="256" r:id="rId6"/>
    <p:sldId id="267" r:id="rId7"/>
    <p:sldId id="258" r:id="rId8"/>
    <p:sldId id="285" r:id="rId9"/>
    <p:sldId id="268" r:id="rId10"/>
    <p:sldId id="279" r:id="rId11"/>
    <p:sldId id="272" r:id="rId12"/>
    <p:sldId id="271" r:id="rId13"/>
    <p:sldId id="278" r:id="rId14"/>
    <p:sldId id="274" r:id="rId15"/>
    <p:sldId id="293" r:id="rId16"/>
    <p:sldId id="289" r:id="rId17"/>
    <p:sldId id="294" r:id="rId18"/>
    <p:sldId id="281" r:id="rId19"/>
    <p:sldId id="284" r:id="rId20"/>
    <p:sldId id="290" r:id="rId21"/>
    <p:sldId id="275" r:id="rId22"/>
    <p:sldId id="276" r:id="rId23"/>
    <p:sldId id="288" r:id="rId24"/>
    <p:sldId id="266" r:id="rId25"/>
  </p:sldIdLst>
  <p:sldSz cx="12192000" cy="6858000"/>
  <p:notesSz cx="6858000" cy="9144000"/>
  <p:custDataLst>
    <p:tags r:id="rId2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5" clrIdx="0">
    <p:extLst>
      <p:ext uri="{19B8F6BF-5375-455C-9EA6-DF929625EA0E}">
        <p15:presenceInfo xmlns:p15="http://schemas.microsoft.com/office/powerpoint/2012/main" userId="S-1-5-21-1202660629-764733703-725345543-10459" providerId="AD"/>
      </p:ext>
    </p:extLst>
  </p:cmAuthor>
  <p:cmAuthor id="2" name="Elise Posma" initials="EP" lastIdx="5"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1A0A2C-C6D9-5D3A-F7E3-FD09FE2BA646}" v="3" dt="2024-12-02T15:00:29.835"/>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741" autoAdjust="0"/>
  </p:normalViewPr>
  <p:slideViewPr>
    <p:cSldViewPr snapToGrid="0">
      <p:cViewPr varScale="1">
        <p:scale>
          <a:sx n="97" d="100"/>
          <a:sy n="97" d="100"/>
        </p:scale>
        <p:origin x="996"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mke van Heeckeren tot Overlaer" userId="96838a5c-d711-4189-832c-a15883880c52" providerId="ADAL" clId="{C1D28CE9-45C2-48FD-AC68-8AEDC2486932}"/>
    <pc:docChg chg="undo redo custSel addSld modSld">
      <pc:chgData name="Famke van Heeckeren tot Overlaer" userId="96838a5c-d711-4189-832c-a15883880c52" providerId="ADAL" clId="{C1D28CE9-45C2-48FD-AC68-8AEDC2486932}" dt="2024-11-27T16:50:43.389" v="71" actId="14100"/>
      <pc:docMkLst>
        <pc:docMk/>
      </pc:docMkLst>
      <pc:sldChg chg="addSp modSp mod">
        <pc:chgData name="Famke van Heeckeren tot Overlaer" userId="96838a5c-d711-4189-832c-a15883880c52" providerId="ADAL" clId="{C1D28CE9-45C2-48FD-AC68-8AEDC2486932}" dt="2024-11-27T16:50:43.389" v="71" actId="14100"/>
        <pc:sldMkLst>
          <pc:docMk/>
          <pc:sldMk cId="273559993" sldId="289"/>
        </pc:sldMkLst>
        <pc:spChg chg="mod">
          <ac:chgData name="Famke van Heeckeren tot Overlaer" userId="96838a5c-d711-4189-832c-a15883880c52" providerId="ADAL" clId="{C1D28CE9-45C2-48FD-AC68-8AEDC2486932}" dt="2024-11-27T16:50:43.389" v="71" actId="14100"/>
          <ac:spMkLst>
            <pc:docMk/>
            <pc:sldMk cId="273559993" sldId="289"/>
            <ac:spMk id="10" creationId="{0AFA99E9-A936-FEA0-C97B-FC32E5F1AB3D}"/>
          </ac:spMkLst>
        </pc:spChg>
        <pc:picChg chg="add mod">
          <ac:chgData name="Famke van Heeckeren tot Overlaer" userId="96838a5c-d711-4189-832c-a15883880c52" providerId="ADAL" clId="{C1D28CE9-45C2-48FD-AC68-8AEDC2486932}" dt="2024-11-27T16:50:26.047" v="69" actId="1076"/>
          <ac:picMkLst>
            <pc:docMk/>
            <pc:sldMk cId="273559993" sldId="289"/>
            <ac:picMk id="3" creationId="{6516E1D8-CB47-5DDC-75A0-D9BAE8F196DE}"/>
          </ac:picMkLst>
        </pc:picChg>
      </pc:sldChg>
      <pc:sldChg chg="modSp mod">
        <pc:chgData name="Famke van Heeckeren tot Overlaer" userId="96838a5c-d711-4189-832c-a15883880c52" providerId="ADAL" clId="{C1D28CE9-45C2-48FD-AC68-8AEDC2486932}" dt="2024-11-27T16:24:09.683" v="1" actId="20577"/>
        <pc:sldMkLst>
          <pc:docMk/>
          <pc:sldMk cId="3113140432" sldId="293"/>
        </pc:sldMkLst>
        <pc:spChg chg="mod">
          <ac:chgData name="Famke van Heeckeren tot Overlaer" userId="96838a5c-d711-4189-832c-a15883880c52" providerId="ADAL" clId="{C1D28CE9-45C2-48FD-AC68-8AEDC2486932}" dt="2024-11-27T16:24:09.683" v="1" actId="20577"/>
          <ac:spMkLst>
            <pc:docMk/>
            <pc:sldMk cId="3113140432" sldId="293"/>
            <ac:spMk id="10" creationId="{0AFA99E9-A936-FEA0-C97B-FC32E5F1AB3D}"/>
          </ac:spMkLst>
        </pc:spChg>
      </pc:sldChg>
      <pc:sldChg chg="modSp add mod">
        <pc:chgData name="Famke van Heeckeren tot Overlaer" userId="96838a5c-d711-4189-832c-a15883880c52" providerId="ADAL" clId="{C1D28CE9-45C2-48FD-AC68-8AEDC2486932}" dt="2024-11-27T16:48:45.611" v="55"/>
        <pc:sldMkLst>
          <pc:docMk/>
          <pc:sldMk cId="205972115" sldId="294"/>
        </pc:sldMkLst>
        <pc:spChg chg="mod">
          <ac:chgData name="Famke van Heeckeren tot Overlaer" userId="96838a5c-d711-4189-832c-a15883880c52" providerId="ADAL" clId="{C1D28CE9-45C2-48FD-AC68-8AEDC2486932}" dt="2024-11-27T16:48:45.611" v="55"/>
          <ac:spMkLst>
            <pc:docMk/>
            <pc:sldMk cId="205972115" sldId="294"/>
            <ac:spMk id="10" creationId="{C8251C4D-2362-4E59-615B-63EF2093E08F}"/>
          </ac:spMkLst>
        </pc:spChg>
      </pc:sldChg>
    </pc:docChg>
  </pc:docChgLst>
  <pc:docChgLst>
    <pc:chgData name="Famke van Heeckeren tot Overlaer" userId="96838a5c-d711-4189-832c-a15883880c52" providerId="ADAL" clId="{34B406D8-61F6-4109-9AE2-5938D2BC28F3}"/>
    <pc:docChg chg="custSel modSld">
      <pc:chgData name="Famke van Heeckeren tot Overlaer" userId="96838a5c-d711-4189-832c-a15883880c52" providerId="ADAL" clId="{34B406D8-61F6-4109-9AE2-5938D2BC28F3}" dt="2024-09-27T10:44:10.984" v="44" actId="20577"/>
      <pc:docMkLst>
        <pc:docMk/>
      </pc:docMkLst>
      <pc:sldChg chg="addSp delSp modSp mod">
        <pc:chgData name="Famke van Heeckeren tot Overlaer" userId="96838a5c-d711-4189-832c-a15883880c52" providerId="ADAL" clId="{34B406D8-61F6-4109-9AE2-5938D2BC28F3}" dt="2024-09-27T10:33:54.956" v="12" actId="20577"/>
        <pc:sldMkLst>
          <pc:docMk/>
          <pc:sldMk cId="259076094" sldId="256"/>
        </pc:sldMkLst>
        <pc:spChg chg="mod">
          <ac:chgData name="Famke van Heeckeren tot Overlaer" userId="96838a5c-d711-4189-832c-a15883880c52" providerId="ADAL" clId="{34B406D8-61F6-4109-9AE2-5938D2BC28F3}" dt="2024-09-27T10:33:54.956" v="12" actId="20577"/>
          <ac:spMkLst>
            <pc:docMk/>
            <pc:sldMk cId="259076094" sldId="256"/>
            <ac:spMk id="10" creationId="{60674255-069B-C1A1-4152-C539CBBB6B37}"/>
          </ac:spMkLst>
        </pc:spChg>
        <pc:spChg chg="del">
          <ac:chgData name="Famke van Heeckeren tot Overlaer" userId="96838a5c-d711-4189-832c-a15883880c52" providerId="ADAL" clId="{34B406D8-61F6-4109-9AE2-5938D2BC28F3}" dt="2024-09-27T10:33:20.467" v="2" actId="478"/>
          <ac:spMkLst>
            <pc:docMk/>
            <pc:sldMk cId="259076094" sldId="256"/>
            <ac:spMk id="11" creationId="{353125B2-72A9-B223-260D-25D0D4D8A4F2}"/>
          </ac:spMkLst>
        </pc:spChg>
        <pc:picChg chg="add mod">
          <ac:chgData name="Famke van Heeckeren tot Overlaer" userId="96838a5c-d711-4189-832c-a15883880c52" providerId="ADAL" clId="{34B406D8-61F6-4109-9AE2-5938D2BC28F3}" dt="2024-09-27T10:33:49.816" v="10" actId="962"/>
          <ac:picMkLst>
            <pc:docMk/>
            <pc:sldMk cId="259076094" sldId="256"/>
            <ac:picMk id="3" creationId="{667B49DA-806A-CAC3-7D72-3AA37248916A}"/>
          </ac:picMkLst>
        </pc:picChg>
      </pc:sldChg>
      <pc:sldChg chg="modSp mod">
        <pc:chgData name="Famke van Heeckeren tot Overlaer" userId="96838a5c-d711-4189-832c-a15883880c52" providerId="ADAL" clId="{34B406D8-61F6-4109-9AE2-5938D2BC28F3}" dt="2024-09-27T10:24:50.597" v="1" actId="1076"/>
        <pc:sldMkLst>
          <pc:docMk/>
          <pc:sldMk cId="3307292787" sldId="269"/>
        </pc:sldMkLst>
        <pc:spChg chg="mod">
          <ac:chgData name="Famke van Heeckeren tot Overlaer" userId="96838a5c-d711-4189-832c-a15883880c52" providerId="ADAL" clId="{34B406D8-61F6-4109-9AE2-5938D2BC28F3}" dt="2024-09-27T10:24:47.591" v="0"/>
          <ac:spMkLst>
            <pc:docMk/>
            <pc:sldMk cId="3307292787" sldId="269"/>
            <ac:spMk id="8" creationId="{6189840A-674E-1182-65C7-A7C014F02347}"/>
          </ac:spMkLst>
        </pc:spChg>
        <pc:picChg chg="mod">
          <ac:chgData name="Famke van Heeckeren tot Overlaer" userId="96838a5c-d711-4189-832c-a15883880c52" providerId="ADAL" clId="{34B406D8-61F6-4109-9AE2-5938D2BC28F3}" dt="2024-09-27T10:24:50.597" v="1"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34B406D8-61F6-4109-9AE2-5938D2BC28F3}" dt="2024-09-27T10:44:10.984" v="44" actId="20577"/>
        <pc:sldMkLst>
          <pc:docMk/>
          <pc:sldMk cId="3477824738" sldId="279"/>
        </pc:sldMkLst>
        <pc:spChg chg="mod">
          <ac:chgData name="Famke van Heeckeren tot Overlaer" userId="96838a5c-d711-4189-832c-a15883880c52" providerId="ADAL" clId="{34B406D8-61F6-4109-9AE2-5938D2BC28F3}" dt="2024-09-27T10:44:10.984" v="44" actId="20577"/>
          <ac:spMkLst>
            <pc:docMk/>
            <pc:sldMk cId="3477824738" sldId="279"/>
            <ac:spMk id="2" creationId="{6C6A25EE-B167-7BC7-D389-7C3601565AEE}"/>
          </ac:spMkLst>
        </pc:spChg>
      </pc:sldChg>
    </pc:docChg>
  </pc:docChgLst>
  <pc:docChgLst>
    <pc:chgData name="Famke van Heeckeren tot Overlaer" userId="96838a5c-d711-4189-832c-a15883880c52" providerId="ADAL" clId="{6C766D0C-7BC1-4BE4-8E2F-8D11E9B1884A}"/>
    <pc:docChg chg="custSel addSld modSld">
      <pc:chgData name="Famke van Heeckeren tot Overlaer" userId="96838a5c-d711-4189-832c-a15883880c52" providerId="ADAL" clId="{6C766D0C-7BC1-4BE4-8E2F-8D11E9B1884A}" dt="2024-10-21T14:54:54.067" v="50" actId="313"/>
      <pc:docMkLst>
        <pc:docMk/>
      </pc:docMkLst>
      <pc:sldChg chg="modSp mod modNotesTx">
        <pc:chgData name="Famke van Heeckeren tot Overlaer" userId="96838a5c-d711-4189-832c-a15883880c52" providerId="ADAL" clId="{6C766D0C-7BC1-4BE4-8E2F-8D11E9B1884A}" dt="2024-10-14T07:52:18.076" v="1" actId="12"/>
        <pc:sldMkLst>
          <pc:docMk/>
          <pc:sldMk cId="3748225533" sldId="275"/>
        </pc:sldMkLst>
        <pc:spChg chg="mod">
          <ac:chgData name="Famke van Heeckeren tot Overlaer" userId="96838a5c-d711-4189-832c-a15883880c52" providerId="ADAL" clId="{6C766D0C-7BC1-4BE4-8E2F-8D11E9B1884A}" dt="2024-10-14T07:52:11.342" v="0" actId="12"/>
          <ac:spMkLst>
            <pc:docMk/>
            <pc:sldMk cId="3748225533" sldId="275"/>
            <ac:spMk id="10" creationId="{0AFA99E9-A936-FEA0-C97B-FC32E5F1AB3D}"/>
          </ac:spMkLst>
        </pc:spChg>
      </pc:sldChg>
      <pc:sldChg chg="add modNotesTx">
        <pc:chgData name="Famke van Heeckeren tot Overlaer" userId="96838a5c-d711-4189-832c-a15883880c52" providerId="ADAL" clId="{6C766D0C-7BC1-4BE4-8E2F-8D11E9B1884A}" dt="2024-10-21T14:54:54.067" v="50" actId="313"/>
        <pc:sldMkLst>
          <pc:docMk/>
          <pc:sldMk cId="3113140432" sldId="293"/>
        </pc:sldMkLst>
      </pc:sldChg>
    </pc:docChg>
  </pc:docChgLst>
  <pc:docChgLst>
    <pc:chgData name="Elise Posma" userId="S::e.posma@pznl.nl::0b5ac1b5-28cd-4814-9a1c-0820a8913ccf" providerId="AD" clId="Web-{3EFB8B81-B2E7-BE5D-1E92-5F8447D2FBFB}"/>
    <pc:docChg chg="modSld">
      <pc:chgData name="Elise Posma" userId="S::e.posma@pznl.nl::0b5ac1b5-28cd-4814-9a1c-0820a8913ccf" providerId="AD" clId="Web-{3EFB8B81-B2E7-BE5D-1E92-5F8447D2FBFB}" dt="2024-10-09T12:56:32.160" v="32"/>
      <pc:docMkLst>
        <pc:docMk/>
      </pc:docMkLst>
      <pc:sldChg chg="modSp modNotes">
        <pc:chgData name="Elise Posma" userId="S::e.posma@pznl.nl::0b5ac1b5-28cd-4814-9a1c-0820a8913ccf" providerId="AD" clId="Web-{3EFB8B81-B2E7-BE5D-1E92-5F8447D2FBFB}" dt="2024-10-09T12:55:52.909" v="2"/>
        <pc:sldMkLst>
          <pc:docMk/>
          <pc:sldMk cId="273559993" sldId="289"/>
        </pc:sldMkLst>
        <pc:spChg chg="mod">
          <ac:chgData name="Elise Posma" userId="S::e.posma@pznl.nl::0b5ac1b5-28cd-4814-9a1c-0820a8913ccf" providerId="AD" clId="Web-{3EFB8B81-B2E7-BE5D-1E92-5F8447D2FBFB}" dt="2024-10-09T12:55:46.893" v="1" actId="20577"/>
          <ac:spMkLst>
            <pc:docMk/>
            <pc:sldMk cId="273559993" sldId="289"/>
            <ac:spMk id="10" creationId="{0AFA99E9-A936-FEA0-C97B-FC32E5F1AB3D}"/>
          </ac:spMkLst>
        </pc:spChg>
      </pc:sldChg>
      <pc:sldChg chg="modSp modNotes">
        <pc:chgData name="Elise Posma" userId="S::e.posma@pznl.nl::0b5ac1b5-28cd-4814-9a1c-0820a8913ccf" providerId="AD" clId="Web-{3EFB8B81-B2E7-BE5D-1E92-5F8447D2FBFB}" dt="2024-10-09T12:56:32.160" v="32"/>
        <pc:sldMkLst>
          <pc:docMk/>
          <pc:sldMk cId="4093672542" sldId="290"/>
        </pc:sldMkLst>
        <pc:spChg chg="mod">
          <ac:chgData name="Elise Posma" userId="S::e.posma@pznl.nl::0b5ac1b5-28cd-4814-9a1c-0820a8913ccf" providerId="AD" clId="Web-{3EFB8B81-B2E7-BE5D-1E92-5F8447D2FBFB}" dt="2024-10-09T12:56:16.425" v="19" actId="20577"/>
          <ac:spMkLst>
            <pc:docMk/>
            <pc:sldMk cId="4093672542" sldId="290"/>
            <ac:spMk id="3" creationId="{75D48A8E-5912-3EBA-8A96-ADB9A465DF1F}"/>
          </ac:spMkLst>
        </pc:spChg>
      </pc:sldChg>
    </pc:docChg>
  </pc:docChgLst>
  <pc:docChgLst>
    <pc:chgData name="Elise Posma" userId="S::e.posma@pznl.nl::0b5ac1b5-28cd-4814-9a1c-0820a8913ccf" providerId="AD" clId="Web-{019759CC-74F4-5911-13BA-D61B20003EE4}"/>
    <pc:docChg chg="modSld">
      <pc:chgData name="Elise Posma" userId="S::e.posma@pznl.nl::0b5ac1b5-28cd-4814-9a1c-0820a8913ccf" providerId="AD" clId="Web-{019759CC-74F4-5911-13BA-D61B20003EE4}" dt="2024-07-15T13:42:51.195" v="563"/>
      <pc:docMkLst>
        <pc:docMk/>
      </pc:docMkLst>
      <pc:sldChg chg="delSp modSp delCm">
        <pc:chgData name="Elise Posma" userId="S::e.posma@pznl.nl::0b5ac1b5-28cd-4814-9a1c-0820a8913ccf" providerId="AD" clId="Web-{019759CC-74F4-5911-13BA-D61B20003EE4}" dt="2024-07-15T13:36:49.842" v="482"/>
        <pc:sldMkLst>
          <pc:docMk/>
          <pc:sldMk cId="409741479" sldId="268"/>
        </pc:sldMkLst>
        <pc:spChg chg="del">
          <ac:chgData name="Elise Posma" userId="S::e.posma@pznl.nl::0b5ac1b5-28cd-4814-9a1c-0820a8913ccf" providerId="AD" clId="Web-{019759CC-74F4-5911-13BA-D61B20003EE4}" dt="2024-07-15T13:36:49.842" v="482"/>
          <ac:spMkLst>
            <pc:docMk/>
            <pc:sldMk cId="409741479" sldId="268"/>
            <ac:spMk id="10" creationId="{0AFA99E9-A936-FEA0-C97B-FC32E5F1AB3D}"/>
          </ac:spMkLst>
        </pc:spChg>
        <pc:spChg chg="mod">
          <ac:chgData name="Elise Posma" userId="S::e.posma@pznl.nl::0b5ac1b5-28cd-4814-9a1c-0820a8913ccf" providerId="AD" clId="Web-{019759CC-74F4-5911-13BA-D61B20003EE4}" dt="2024-07-15T13:36:47.107" v="481" actId="20577"/>
          <ac:spMkLst>
            <pc:docMk/>
            <pc:sldMk cId="409741479" sldId="268"/>
            <ac:spMk id="12" creationId="{3F5A8134-E7D5-CE49-8A49-368D6389E008}"/>
          </ac:spMkLst>
        </pc:spChg>
      </pc:sldChg>
      <pc:sldChg chg="modNotes">
        <pc:chgData name="Elise Posma" userId="S::e.posma@pznl.nl::0b5ac1b5-28cd-4814-9a1c-0820a8913ccf" providerId="AD" clId="Web-{019759CC-74F4-5911-13BA-D61B20003EE4}" dt="2024-07-15T09:58:27.995" v="7"/>
        <pc:sldMkLst>
          <pc:docMk/>
          <pc:sldMk cId="139439553" sldId="271"/>
        </pc:sldMkLst>
      </pc:sldChg>
      <pc:sldChg chg="modSp modNotes">
        <pc:chgData name="Elise Posma" userId="S::e.posma@pznl.nl::0b5ac1b5-28cd-4814-9a1c-0820a8913ccf" providerId="AD" clId="Web-{019759CC-74F4-5911-13BA-D61B20003EE4}" dt="2024-07-15T13:38:46.064" v="487" actId="20577"/>
        <pc:sldMkLst>
          <pc:docMk/>
          <pc:sldMk cId="1329402463" sldId="274"/>
        </pc:sldMkLst>
        <pc:spChg chg="mod">
          <ac:chgData name="Elise Posma" userId="S::e.posma@pznl.nl::0b5ac1b5-28cd-4814-9a1c-0820a8913ccf" providerId="AD" clId="Web-{019759CC-74F4-5911-13BA-D61B20003EE4}" dt="2024-07-15T13:38:46.064" v="487" actId="20577"/>
          <ac:spMkLst>
            <pc:docMk/>
            <pc:sldMk cId="1329402463" sldId="274"/>
            <ac:spMk id="7" creationId="{0EDF6B68-DA54-2986-D44B-05022A2B0F2D}"/>
          </ac:spMkLst>
        </pc:spChg>
        <pc:spChg chg="mod">
          <ac:chgData name="Elise Posma" userId="S::e.posma@pznl.nl::0b5ac1b5-28cd-4814-9a1c-0820a8913ccf" providerId="AD" clId="Web-{019759CC-74F4-5911-13BA-D61B20003EE4}" dt="2024-07-15T10:06:10.294" v="144" actId="14100"/>
          <ac:spMkLst>
            <pc:docMk/>
            <pc:sldMk cId="1329402463" sldId="274"/>
            <ac:spMk id="10" creationId="{0AFA99E9-A936-FEA0-C97B-FC32E5F1AB3D}"/>
          </ac:spMkLst>
        </pc:spChg>
      </pc:sldChg>
      <pc:sldChg chg="modSp modNotes">
        <pc:chgData name="Elise Posma" userId="S::e.posma@pznl.nl::0b5ac1b5-28cd-4814-9a1c-0820a8913ccf" providerId="AD" clId="Web-{019759CC-74F4-5911-13BA-D61B20003EE4}" dt="2024-07-15T13:42:51.195" v="563"/>
        <pc:sldMkLst>
          <pc:docMk/>
          <pc:sldMk cId="3748225533" sldId="275"/>
        </pc:sldMkLst>
        <pc:spChg chg="mod">
          <ac:chgData name="Elise Posma" userId="S::e.posma@pznl.nl::0b5ac1b5-28cd-4814-9a1c-0820a8913ccf" providerId="AD" clId="Web-{019759CC-74F4-5911-13BA-D61B20003EE4}" dt="2024-07-15T13:42:06.835" v="560" actId="20577"/>
          <ac:spMkLst>
            <pc:docMk/>
            <pc:sldMk cId="3748225533" sldId="275"/>
            <ac:spMk id="10" creationId="{0AFA99E9-A936-FEA0-C97B-FC32E5F1AB3D}"/>
          </ac:spMkLst>
        </pc:spChg>
      </pc:sldChg>
      <pc:sldChg chg="modNotes">
        <pc:chgData name="Elise Posma" userId="S::e.posma@pznl.nl::0b5ac1b5-28cd-4814-9a1c-0820a8913ccf" providerId="AD" clId="Web-{019759CC-74F4-5911-13BA-D61B20003EE4}" dt="2024-07-15T10:00:26.875" v="36"/>
        <pc:sldMkLst>
          <pc:docMk/>
          <pc:sldMk cId="2310427119" sldId="276"/>
        </pc:sldMkLst>
      </pc:sldChg>
      <pc:sldChg chg="modNotes">
        <pc:chgData name="Elise Posma" userId="S::e.posma@pznl.nl::0b5ac1b5-28cd-4814-9a1c-0820a8913ccf" providerId="AD" clId="Web-{019759CC-74F4-5911-13BA-D61B20003EE4}" dt="2024-07-15T09:58:33.573" v="9"/>
        <pc:sldMkLst>
          <pc:docMk/>
          <pc:sldMk cId="556879563" sldId="278"/>
        </pc:sldMkLst>
      </pc:sldChg>
      <pc:sldChg chg="modSp">
        <pc:chgData name="Elise Posma" userId="S::e.posma@pznl.nl::0b5ac1b5-28cd-4814-9a1c-0820a8913ccf" providerId="AD" clId="Web-{019759CC-74F4-5911-13BA-D61B20003EE4}" dt="2024-07-15T10:05:21.324" v="142" actId="20577"/>
        <pc:sldMkLst>
          <pc:docMk/>
          <pc:sldMk cId="3477824738" sldId="279"/>
        </pc:sldMkLst>
        <pc:spChg chg="mod">
          <ac:chgData name="Elise Posma" userId="S::e.posma@pznl.nl::0b5ac1b5-28cd-4814-9a1c-0820a8913ccf" providerId="AD" clId="Web-{019759CC-74F4-5911-13BA-D61B20003EE4}" dt="2024-07-15T10:05:21.324" v="142" actId="20577"/>
          <ac:spMkLst>
            <pc:docMk/>
            <pc:sldMk cId="3477824738" sldId="279"/>
            <ac:spMk id="2" creationId="{6C6A25EE-B167-7BC7-D389-7C3601565AEE}"/>
          </ac:spMkLst>
        </pc:spChg>
      </pc:sldChg>
      <pc:sldChg chg="modSp delCm modNotes">
        <pc:chgData name="Elise Posma" userId="S::e.posma@pznl.nl::0b5ac1b5-28cd-4814-9a1c-0820a8913ccf" providerId="AD" clId="Web-{019759CC-74F4-5911-13BA-D61B20003EE4}" dt="2024-07-15T10:41:50.360" v="466"/>
        <pc:sldMkLst>
          <pc:docMk/>
          <pc:sldMk cId="472608649" sldId="281"/>
        </pc:sldMkLst>
        <pc:spChg chg="mod">
          <ac:chgData name="Elise Posma" userId="S::e.posma@pznl.nl::0b5ac1b5-28cd-4814-9a1c-0820a8913ccf" providerId="AD" clId="Web-{019759CC-74F4-5911-13BA-D61B20003EE4}" dt="2024-07-15T10:14:53.689" v="335" actId="20577"/>
          <ac:spMkLst>
            <pc:docMk/>
            <pc:sldMk cId="472608649" sldId="281"/>
            <ac:spMk id="10" creationId="{0AFA99E9-A936-FEA0-C97B-FC32E5F1AB3D}"/>
          </ac:spMkLst>
        </pc:spChg>
      </pc:sldChg>
      <pc:sldChg chg="modNotes">
        <pc:chgData name="Elise Posma" userId="S::e.posma@pznl.nl::0b5ac1b5-28cd-4814-9a1c-0820a8913ccf" providerId="AD" clId="Web-{019759CC-74F4-5911-13BA-D61B20003EE4}" dt="2024-07-15T10:00:11.952" v="35"/>
        <pc:sldMkLst>
          <pc:docMk/>
          <pc:sldMk cId="4242541050" sldId="284"/>
        </pc:sldMkLst>
      </pc:sldChg>
      <pc:sldChg chg="delCm modNotes">
        <pc:chgData name="Elise Posma" userId="S::e.posma@pznl.nl::0b5ac1b5-28cd-4814-9a1c-0820a8913ccf" providerId="AD" clId="Web-{019759CC-74F4-5911-13BA-D61B20003EE4}" dt="2024-07-15T10:08:19.096" v="155"/>
        <pc:sldMkLst>
          <pc:docMk/>
          <pc:sldMk cId="3292976871" sldId="285"/>
        </pc:sldMkLst>
      </pc:sldChg>
      <pc:sldChg chg="modSp delCm modCm modNotes">
        <pc:chgData name="Elise Posma" userId="S::e.posma@pznl.nl::0b5ac1b5-28cd-4814-9a1c-0820a8913ccf" providerId="AD" clId="Web-{019759CC-74F4-5911-13BA-D61B20003EE4}" dt="2024-07-15T13:33:06.430" v="479" actId="20577"/>
        <pc:sldMkLst>
          <pc:docMk/>
          <pc:sldMk cId="1887405701" sldId="288"/>
        </pc:sldMkLst>
        <pc:spChg chg="mod">
          <ac:chgData name="Elise Posma" userId="S::e.posma@pznl.nl::0b5ac1b5-28cd-4814-9a1c-0820a8913ccf" providerId="AD" clId="Web-{019759CC-74F4-5911-13BA-D61B20003EE4}" dt="2024-07-15T13:33:06.430" v="479" actId="20577"/>
          <ac:spMkLst>
            <pc:docMk/>
            <pc:sldMk cId="1887405701" sldId="288"/>
            <ac:spMk id="7" creationId="{0EDF6B68-DA54-2986-D44B-05022A2B0F2D}"/>
          </ac:spMkLst>
        </pc:spChg>
        <pc:spChg chg="mod">
          <ac:chgData name="Elise Posma" userId="S::e.posma@pznl.nl::0b5ac1b5-28cd-4814-9a1c-0820a8913ccf" providerId="AD" clId="Web-{019759CC-74F4-5911-13BA-D61B20003EE4}" dt="2024-07-15T13:33:03.258" v="477" actId="20577"/>
          <ac:spMkLst>
            <pc:docMk/>
            <pc:sldMk cId="1887405701" sldId="288"/>
            <ac:spMk id="10" creationId="{0AFA99E9-A936-FEA0-C97B-FC32E5F1AB3D}"/>
          </ac:spMkLst>
        </pc:spChg>
      </pc:sldChg>
      <pc:sldChg chg="modSp delCm modNotes">
        <pc:chgData name="Elise Posma" userId="S::e.posma@pznl.nl::0b5ac1b5-28cd-4814-9a1c-0820a8913ccf" providerId="AD" clId="Web-{019759CC-74F4-5911-13BA-D61B20003EE4}" dt="2024-07-15T13:39:52.237" v="516"/>
        <pc:sldMkLst>
          <pc:docMk/>
          <pc:sldMk cId="273559993" sldId="289"/>
        </pc:sldMkLst>
        <pc:spChg chg="mod">
          <ac:chgData name="Elise Posma" userId="S::e.posma@pznl.nl::0b5ac1b5-28cd-4814-9a1c-0820a8913ccf" providerId="AD" clId="Web-{019759CC-74F4-5911-13BA-D61B20003EE4}" dt="2024-07-15T13:38:49.579" v="488" actId="20577"/>
          <ac:spMkLst>
            <pc:docMk/>
            <pc:sldMk cId="273559993" sldId="289"/>
            <ac:spMk id="7" creationId="{0EDF6B68-DA54-2986-D44B-05022A2B0F2D}"/>
          </ac:spMkLst>
        </pc:spChg>
        <pc:spChg chg="mod">
          <ac:chgData name="Elise Posma" userId="S::e.posma@pznl.nl::0b5ac1b5-28cd-4814-9a1c-0820a8913ccf" providerId="AD" clId="Web-{019759CC-74F4-5911-13BA-D61B20003EE4}" dt="2024-07-15T10:10:10.288" v="170" actId="14100"/>
          <ac:spMkLst>
            <pc:docMk/>
            <pc:sldMk cId="273559993" sldId="289"/>
            <ac:spMk id="10" creationId="{0AFA99E9-A936-FEA0-C97B-FC32E5F1AB3D}"/>
          </ac:spMkLst>
        </pc:spChg>
      </pc:sldChg>
      <pc:sldChg chg="modSp addCm modNotes">
        <pc:chgData name="Elise Posma" userId="S::e.posma@pznl.nl::0b5ac1b5-28cd-4814-9a1c-0820a8913ccf" providerId="AD" clId="Web-{019759CC-74F4-5911-13BA-D61B20003EE4}" dt="2024-07-15T13:41:41.021" v="557"/>
        <pc:sldMkLst>
          <pc:docMk/>
          <pc:sldMk cId="4093672542" sldId="290"/>
        </pc:sldMkLst>
        <pc:spChg chg="mod">
          <ac:chgData name="Elise Posma" userId="S::e.posma@pznl.nl::0b5ac1b5-28cd-4814-9a1c-0820a8913ccf" providerId="AD" clId="Web-{019759CC-74F4-5911-13BA-D61B20003EE4}" dt="2024-07-15T13:38:54.954" v="489" actId="20577"/>
          <ac:spMkLst>
            <pc:docMk/>
            <pc:sldMk cId="4093672542" sldId="290"/>
            <ac:spMk id="2" creationId="{5CEC546C-B168-F1DD-A74A-F607AC89CCD1}"/>
          </ac:spMkLst>
        </pc:spChg>
        <pc:spChg chg="mod">
          <ac:chgData name="Elise Posma" userId="S::e.posma@pznl.nl::0b5ac1b5-28cd-4814-9a1c-0820a8913ccf" providerId="AD" clId="Web-{019759CC-74F4-5911-13BA-D61B20003EE4}" dt="2024-07-15T10:20:35.499" v="454" actId="20577"/>
          <ac:spMkLst>
            <pc:docMk/>
            <pc:sldMk cId="4093672542" sldId="290"/>
            <ac:spMk id="3" creationId="{75D48A8E-5912-3EBA-8A96-ADB9A465DF1F}"/>
          </ac:spMkLst>
        </pc:spChg>
      </pc:sldChg>
    </pc:docChg>
  </pc:docChgLst>
  <pc:docChgLst>
    <pc:chgData name="Famke van Heeckeren tot Overlaer" userId="96838a5c-d711-4189-832c-a15883880c52" providerId="ADAL" clId="{DDA35A10-C8BD-4DB3-A97D-438E6000EBF0}"/>
    <pc:docChg chg="undo custSel modSld">
      <pc:chgData name="Famke van Heeckeren tot Overlaer" userId="96838a5c-d711-4189-832c-a15883880c52" providerId="ADAL" clId="{DDA35A10-C8BD-4DB3-A97D-438E6000EBF0}" dt="2024-07-15T12:14:03.264" v="278" actId="1592"/>
      <pc:docMkLst>
        <pc:docMk/>
      </pc:docMkLst>
      <pc:sldChg chg="modNotesTx">
        <pc:chgData name="Famke van Heeckeren tot Overlaer" userId="96838a5c-d711-4189-832c-a15883880c52" providerId="ADAL" clId="{DDA35A10-C8BD-4DB3-A97D-438E6000EBF0}" dt="2024-07-15T11:47:52.506" v="12" actId="20577"/>
        <pc:sldMkLst>
          <pc:docMk/>
          <pc:sldMk cId="2979246287" sldId="258"/>
        </pc:sldMkLst>
      </pc:sldChg>
      <pc:sldChg chg="modNotesTx">
        <pc:chgData name="Famke van Heeckeren tot Overlaer" userId="96838a5c-d711-4189-832c-a15883880c52" providerId="ADAL" clId="{DDA35A10-C8BD-4DB3-A97D-438E6000EBF0}" dt="2024-07-15T11:48:48.353" v="15" actId="20577"/>
        <pc:sldMkLst>
          <pc:docMk/>
          <pc:sldMk cId="409741479" sldId="268"/>
        </pc:sldMkLst>
      </pc:sldChg>
      <pc:sldChg chg="modSp mod">
        <pc:chgData name="Famke van Heeckeren tot Overlaer" userId="96838a5c-d711-4189-832c-a15883880c52" providerId="ADAL" clId="{DDA35A10-C8BD-4DB3-A97D-438E6000EBF0}" dt="2024-07-15T11:53:11.776" v="23" actId="20577"/>
        <pc:sldMkLst>
          <pc:docMk/>
          <pc:sldMk cId="3748225533" sldId="275"/>
        </pc:sldMkLst>
        <pc:spChg chg="mod">
          <ac:chgData name="Famke van Heeckeren tot Overlaer" userId="96838a5c-d711-4189-832c-a15883880c52" providerId="ADAL" clId="{DDA35A10-C8BD-4DB3-A97D-438E6000EBF0}" dt="2024-07-15T11:53:11.776" v="23" actId="20577"/>
          <ac:spMkLst>
            <pc:docMk/>
            <pc:sldMk cId="3748225533" sldId="275"/>
            <ac:spMk id="10" creationId="{0AFA99E9-A936-FEA0-C97B-FC32E5F1AB3D}"/>
          </ac:spMkLst>
        </pc:spChg>
      </pc:sldChg>
      <pc:sldChg chg="modSp mod">
        <pc:chgData name="Famke van Heeckeren tot Overlaer" userId="96838a5c-d711-4189-832c-a15883880c52" providerId="ADAL" clId="{DDA35A10-C8BD-4DB3-A97D-438E6000EBF0}" dt="2024-07-15T11:48:43.065" v="14" actId="20577"/>
        <pc:sldMkLst>
          <pc:docMk/>
          <pc:sldMk cId="3477824738" sldId="279"/>
        </pc:sldMkLst>
        <pc:spChg chg="mod">
          <ac:chgData name="Famke van Heeckeren tot Overlaer" userId="96838a5c-d711-4189-832c-a15883880c52" providerId="ADAL" clId="{DDA35A10-C8BD-4DB3-A97D-438E6000EBF0}" dt="2024-07-15T11:48:43.065" v="14" actId="20577"/>
          <ac:spMkLst>
            <pc:docMk/>
            <pc:sldMk cId="3477824738" sldId="279"/>
            <ac:spMk id="7" creationId="{0EDF6B68-DA54-2986-D44B-05022A2B0F2D}"/>
          </ac:spMkLst>
        </pc:spChg>
      </pc:sldChg>
      <pc:sldChg chg="modNotesTx">
        <pc:chgData name="Famke van Heeckeren tot Overlaer" userId="96838a5c-d711-4189-832c-a15883880c52" providerId="ADAL" clId="{DDA35A10-C8BD-4DB3-A97D-438E6000EBF0}" dt="2024-07-15T11:48:18.245" v="13"/>
        <pc:sldMkLst>
          <pc:docMk/>
          <pc:sldMk cId="3292976871" sldId="285"/>
        </pc:sldMkLst>
      </pc:sldChg>
      <pc:sldChg chg="modSp mod delCm modCm">
        <pc:chgData name="Famke van Heeckeren tot Overlaer" userId="96838a5c-d711-4189-832c-a15883880c52" providerId="ADAL" clId="{DDA35A10-C8BD-4DB3-A97D-438E6000EBF0}" dt="2024-07-15T12:14:03.264" v="278" actId="1592"/>
        <pc:sldMkLst>
          <pc:docMk/>
          <pc:sldMk cId="4093672542" sldId="290"/>
        </pc:sldMkLst>
        <pc:spChg chg="mod">
          <ac:chgData name="Famke van Heeckeren tot Overlaer" userId="96838a5c-d711-4189-832c-a15883880c52" providerId="ADAL" clId="{DDA35A10-C8BD-4DB3-A97D-438E6000EBF0}" dt="2024-07-15T12:13:37.292" v="277" actId="20577"/>
          <ac:spMkLst>
            <pc:docMk/>
            <pc:sldMk cId="4093672542" sldId="290"/>
            <ac:spMk id="3" creationId="{75D48A8E-5912-3EBA-8A96-ADB9A465DF1F}"/>
          </ac:spMkLst>
        </pc:spChg>
      </pc:sldChg>
    </pc:docChg>
  </pc:docChgLst>
  <pc:docChgLst>
    <pc:chgData name="Elise Posma" userId="S::e.posma@pznl.nl::0b5ac1b5-28cd-4814-9a1c-0820a8913ccf" providerId="AD" clId="Web-{78C1186A-431B-B878-7570-D510FCE9DA8A}"/>
    <pc:docChg chg="modSld">
      <pc:chgData name="Elise Posma" userId="S::e.posma@pznl.nl::0b5ac1b5-28cd-4814-9a1c-0820a8913ccf" providerId="AD" clId="Web-{78C1186A-431B-B878-7570-D510FCE9DA8A}" dt="2024-10-23T08:21:36.396" v="1"/>
      <pc:docMkLst>
        <pc:docMk/>
      </pc:docMkLst>
      <pc:sldChg chg="modNotes">
        <pc:chgData name="Elise Posma" userId="S::e.posma@pznl.nl::0b5ac1b5-28cd-4814-9a1c-0820a8913ccf" providerId="AD" clId="Web-{78C1186A-431B-B878-7570-D510FCE9DA8A}" dt="2024-10-23T08:21:36.396" v="1"/>
        <pc:sldMkLst>
          <pc:docMk/>
          <pc:sldMk cId="1329402463" sldId="274"/>
        </pc:sldMkLst>
      </pc:sldChg>
    </pc:docChg>
  </pc:docChgLst>
  <pc:docChgLst>
    <pc:chgData name="Elise Posma" userId="S::e.posma@pznl.nl::0b5ac1b5-28cd-4814-9a1c-0820a8913ccf" providerId="AD" clId="Web-{3B3B3297-73B5-79FE-E509-0F6536A8CCF2}"/>
    <pc:docChg chg="modSld">
      <pc:chgData name="Elise Posma" userId="S::e.posma@pznl.nl::0b5ac1b5-28cd-4814-9a1c-0820a8913ccf" providerId="AD" clId="Web-{3B3B3297-73B5-79FE-E509-0F6536A8CCF2}" dt="2024-10-23T08:19:36.629" v="2" actId="20577"/>
      <pc:docMkLst>
        <pc:docMk/>
      </pc:docMkLst>
      <pc:sldChg chg="modSp">
        <pc:chgData name="Elise Posma" userId="S::e.posma@pznl.nl::0b5ac1b5-28cd-4814-9a1c-0820a8913ccf" providerId="AD" clId="Web-{3B3B3297-73B5-79FE-E509-0F6536A8CCF2}" dt="2024-10-23T08:19:36.629" v="2" actId="20577"/>
        <pc:sldMkLst>
          <pc:docMk/>
          <pc:sldMk cId="3113140432" sldId="293"/>
        </pc:sldMkLst>
        <pc:spChg chg="mod">
          <ac:chgData name="Elise Posma" userId="S::e.posma@pznl.nl::0b5ac1b5-28cd-4814-9a1c-0820a8913ccf" providerId="AD" clId="Web-{3B3B3297-73B5-79FE-E509-0F6536A8CCF2}" dt="2024-10-23T08:19:36.629" v="2" actId="20577"/>
          <ac:spMkLst>
            <pc:docMk/>
            <pc:sldMk cId="3113140432" sldId="293"/>
            <ac:spMk id="10" creationId="{0AFA99E9-A936-FEA0-C97B-FC32E5F1AB3D}"/>
          </ac:spMkLst>
        </pc:spChg>
      </pc:sldChg>
    </pc:docChg>
  </pc:docChgLst>
  <pc:docChgLst>
    <pc:chgData name="Elise Posma" userId="S::e.posma@pznl.nl::0b5ac1b5-28cd-4814-9a1c-0820a8913ccf" providerId="AD" clId="Web-{836FB6DF-7A43-5C2F-9294-770DC19BD0DD}"/>
    <pc:docChg chg="modSld">
      <pc:chgData name="Elise Posma" userId="S::e.posma@pznl.nl::0b5ac1b5-28cd-4814-9a1c-0820a8913ccf" providerId="AD" clId="Web-{836FB6DF-7A43-5C2F-9294-770DC19BD0DD}" dt="2024-10-09T12:48:40.597" v="28"/>
      <pc:docMkLst>
        <pc:docMk/>
      </pc:docMkLst>
      <pc:sldChg chg="modNotes">
        <pc:chgData name="Elise Posma" userId="S::e.posma@pznl.nl::0b5ac1b5-28cd-4814-9a1c-0820a8913ccf" providerId="AD" clId="Web-{836FB6DF-7A43-5C2F-9294-770DC19BD0DD}" dt="2024-10-09T12:48:07.721" v="7"/>
        <pc:sldMkLst>
          <pc:docMk/>
          <pc:sldMk cId="139439553" sldId="271"/>
        </pc:sldMkLst>
      </pc:sldChg>
      <pc:sldChg chg="modNotes">
        <pc:chgData name="Elise Posma" userId="S::e.posma@pznl.nl::0b5ac1b5-28cd-4814-9a1c-0820a8913ccf" providerId="AD" clId="Web-{836FB6DF-7A43-5C2F-9294-770DC19BD0DD}" dt="2024-10-09T12:47:27.501" v="5"/>
        <pc:sldMkLst>
          <pc:docMk/>
          <pc:sldMk cId="4242541050" sldId="284"/>
        </pc:sldMkLst>
      </pc:sldChg>
      <pc:sldChg chg="modSp modNotes">
        <pc:chgData name="Elise Posma" userId="S::e.posma@pznl.nl::0b5ac1b5-28cd-4814-9a1c-0820a8913ccf" providerId="AD" clId="Web-{836FB6DF-7A43-5C2F-9294-770DC19BD0DD}" dt="2024-10-09T12:48:40.597" v="28"/>
        <pc:sldMkLst>
          <pc:docMk/>
          <pc:sldMk cId="273559993" sldId="289"/>
        </pc:sldMkLst>
        <pc:spChg chg="mod">
          <ac:chgData name="Elise Posma" userId="S::e.posma@pznl.nl::0b5ac1b5-28cd-4814-9a1c-0820a8913ccf" providerId="AD" clId="Web-{836FB6DF-7A43-5C2F-9294-770DC19BD0DD}" dt="2024-10-09T12:48:22.299" v="19" actId="20577"/>
          <ac:spMkLst>
            <pc:docMk/>
            <pc:sldMk cId="273559993" sldId="289"/>
            <ac:spMk id="10" creationId="{0AFA99E9-A936-FEA0-C97B-FC32E5F1AB3D}"/>
          </ac:spMkLst>
        </pc:spChg>
      </pc:sldChg>
    </pc:docChg>
  </pc:docChgLst>
  <pc:docChgLst>
    <pc:chgData name="Elise Posma" userId="S::e.posma@pznl.nl::0b5ac1b5-28cd-4814-9a1c-0820a8913ccf" providerId="AD" clId="Web-{540FA4B4-75E6-B648-558F-39FC1F98EE78}"/>
    <pc:docChg chg="modSld">
      <pc:chgData name="Elise Posma" userId="S::e.posma@pznl.nl::0b5ac1b5-28cd-4814-9a1c-0820a8913ccf" providerId="AD" clId="Web-{540FA4B4-75E6-B648-558F-39FC1F98EE78}" dt="2024-08-05T13:34:31.134" v="10" actId="1076"/>
      <pc:docMkLst>
        <pc:docMk/>
      </pc:docMkLst>
      <pc:sldChg chg="addSp delSp modSp">
        <pc:chgData name="Elise Posma" userId="S::e.posma@pznl.nl::0b5ac1b5-28cd-4814-9a1c-0820a8913ccf" providerId="AD" clId="Web-{540FA4B4-75E6-B648-558F-39FC1F98EE78}" dt="2024-08-05T13:34:31.134" v="10" actId="1076"/>
        <pc:sldMkLst>
          <pc:docMk/>
          <pc:sldMk cId="1504154189" sldId="272"/>
        </pc:sldMkLst>
        <pc:picChg chg="add mod">
          <ac:chgData name="Elise Posma" userId="S::e.posma@pznl.nl::0b5ac1b5-28cd-4814-9a1c-0820a8913ccf" providerId="AD" clId="Web-{540FA4B4-75E6-B648-558F-39FC1F98EE78}" dt="2024-08-05T13:34:31.134" v="10" actId="1076"/>
          <ac:picMkLst>
            <pc:docMk/>
            <pc:sldMk cId="1504154189" sldId="272"/>
            <ac:picMk id="2" creationId="{A1DEF82E-F5B4-3109-7344-3DE16E5D7BAD}"/>
          </ac:picMkLst>
        </pc:picChg>
        <pc:picChg chg="del">
          <ac:chgData name="Elise Posma" userId="S::e.posma@pznl.nl::0b5ac1b5-28cd-4814-9a1c-0820a8913ccf" providerId="AD" clId="Web-{540FA4B4-75E6-B648-558F-39FC1F98EE78}" dt="2024-08-05T13:33:54.992" v="0"/>
          <ac:picMkLst>
            <pc:docMk/>
            <pc:sldMk cId="1504154189" sldId="272"/>
            <ac:picMk id="5" creationId="{7F42C67A-1AED-EB39-8FEB-881B47DD7669}"/>
          </ac:picMkLst>
        </pc:picChg>
      </pc:sldChg>
    </pc:docChg>
  </pc:docChgLst>
  <pc:docChgLst>
    <pc:chgData name="Ank Louwes" userId="S::a.louwes@pznl.nl::afde4120-2980-4fd3-9aab-23d0ef32f51f" providerId="AD" clId="Web-{1CC9C2E8-73C7-E336-221E-A51E2FD8D020}"/>
    <pc:docChg chg="modSld">
      <pc:chgData name="Ank Louwes" userId="S::a.louwes@pznl.nl::afde4120-2980-4fd3-9aab-23d0ef32f51f" providerId="AD" clId="Web-{1CC9C2E8-73C7-E336-221E-A51E2FD8D020}" dt="2024-08-14T12:30:19.173" v="43" actId="20577"/>
      <pc:docMkLst>
        <pc:docMk/>
      </pc:docMkLst>
      <pc:sldChg chg="modSp">
        <pc:chgData name="Ank Louwes" userId="S::a.louwes@pznl.nl::afde4120-2980-4fd3-9aab-23d0ef32f51f" providerId="AD" clId="Web-{1CC9C2E8-73C7-E336-221E-A51E2FD8D020}" dt="2024-08-14T12:24:42.379" v="2" actId="20577"/>
        <pc:sldMkLst>
          <pc:docMk/>
          <pc:sldMk cId="139439553" sldId="271"/>
        </pc:sldMkLst>
        <pc:spChg chg="mod">
          <ac:chgData name="Ank Louwes" userId="S::a.louwes@pznl.nl::afde4120-2980-4fd3-9aab-23d0ef32f51f" providerId="AD" clId="Web-{1CC9C2E8-73C7-E336-221E-A51E2FD8D020}" dt="2024-08-14T12:24:42.379" v="2" actId="20577"/>
          <ac:spMkLst>
            <pc:docMk/>
            <pc:sldMk cId="139439553" sldId="271"/>
            <ac:spMk id="10" creationId="{0AFA99E9-A936-FEA0-C97B-FC32E5F1AB3D}"/>
          </ac:spMkLst>
        </pc:spChg>
      </pc:sldChg>
      <pc:sldChg chg="modSp">
        <pc:chgData name="Ank Louwes" userId="S::a.louwes@pznl.nl::afde4120-2980-4fd3-9aab-23d0ef32f51f" providerId="AD" clId="Web-{1CC9C2E8-73C7-E336-221E-A51E2FD8D020}" dt="2024-08-14T12:30:00.141" v="28" actId="20577"/>
        <pc:sldMkLst>
          <pc:docMk/>
          <pc:sldMk cId="3748225533" sldId="275"/>
        </pc:sldMkLst>
        <pc:spChg chg="mod">
          <ac:chgData name="Ank Louwes" userId="S::a.louwes@pznl.nl::afde4120-2980-4fd3-9aab-23d0ef32f51f" providerId="AD" clId="Web-{1CC9C2E8-73C7-E336-221E-A51E2FD8D020}" dt="2024-08-14T12:30:00.141" v="28" actId="20577"/>
          <ac:spMkLst>
            <pc:docMk/>
            <pc:sldMk cId="3748225533" sldId="275"/>
            <ac:spMk id="10" creationId="{0AFA99E9-A936-FEA0-C97B-FC32E5F1AB3D}"/>
          </ac:spMkLst>
        </pc:spChg>
      </pc:sldChg>
      <pc:sldChg chg="modSp">
        <pc:chgData name="Ank Louwes" userId="S::a.louwes@pznl.nl::afde4120-2980-4fd3-9aab-23d0ef32f51f" providerId="AD" clId="Web-{1CC9C2E8-73C7-E336-221E-A51E2FD8D020}" dt="2024-08-14T12:24:51.598" v="5" actId="20577"/>
        <pc:sldMkLst>
          <pc:docMk/>
          <pc:sldMk cId="556879563" sldId="278"/>
        </pc:sldMkLst>
        <pc:spChg chg="mod">
          <ac:chgData name="Ank Louwes" userId="S::a.louwes@pznl.nl::afde4120-2980-4fd3-9aab-23d0ef32f51f" providerId="AD" clId="Web-{1CC9C2E8-73C7-E336-221E-A51E2FD8D020}" dt="2024-08-14T12:24:51.598" v="5" actId="20577"/>
          <ac:spMkLst>
            <pc:docMk/>
            <pc:sldMk cId="556879563" sldId="278"/>
            <ac:spMk id="3" creationId="{415CF7FC-3BC3-7FA5-6ACE-F1152CEC6B30}"/>
          </ac:spMkLst>
        </pc:spChg>
      </pc:sldChg>
      <pc:sldChg chg="modSp">
        <pc:chgData name="Ank Louwes" userId="S::a.louwes@pznl.nl::afde4120-2980-4fd3-9aab-23d0ef32f51f" providerId="AD" clId="Web-{1CC9C2E8-73C7-E336-221E-A51E2FD8D020}" dt="2024-08-14T12:27:27.026" v="17" actId="20577"/>
        <pc:sldMkLst>
          <pc:docMk/>
          <pc:sldMk cId="472608649" sldId="281"/>
        </pc:sldMkLst>
        <pc:spChg chg="mod">
          <ac:chgData name="Ank Louwes" userId="S::a.louwes@pznl.nl::afde4120-2980-4fd3-9aab-23d0ef32f51f" providerId="AD" clId="Web-{1CC9C2E8-73C7-E336-221E-A51E2FD8D020}" dt="2024-08-14T12:27:27.026" v="17" actId="20577"/>
          <ac:spMkLst>
            <pc:docMk/>
            <pc:sldMk cId="472608649" sldId="281"/>
            <ac:spMk id="10" creationId="{0AFA99E9-A936-FEA0-C97B-FC32E5F1AB3D}"/>
          </ac:spMkLst>
        </pc:spChg>
      </pc:sldChg>
      <pc:sldChg chg="modSp">
        <pc:chgData name="Ank Louwes" userId="S::a.louwes@pznl.nl::afde4120-2980-4fd3-9aab-23d0ef32f51f" providerId="AD" clId="Web-{1CC9C2E8-73C7-E336-221E-A51E2FD8D020}" dt="2024-08-14T12:26:20.024" v="11" actId="20577"/>
        <pc:sldMkLst>
          <pc:docMk/>
          <pc:sldMk cId="273559993" sldId="289"/>
        </pc:sldMkLst>
        <pc:spChg chg="mod">
          <ac:chgData name="Ank Louwes" userId="S::a.louwes@pznl.nl::afde4120-2980-4fd3-9aab-23d0ef32f51f" providerId="AD" clId="Web-{1CC9C2E8-73C7-E336-221E-A51E2FD8D020}" dt="2024-08-14T12:26:20.024" v="11" actId="20577"/>
          <ac:spMkLst>
            <pc:docMk/>
            <pc:sldMk cId="273559993" sldId="289"/>
            <ac:spMk id="10" creationId="{0AFA99E9-A936-FEA0-C97B-FC32E5F1AB3D}"/>
          </ac:spMkLst>
        </pc:spChg>
      </pc:sldChg>
      <pc:sldChg chg="modSp">
        <pc:chgData name="Ank Louwes" userId="S::a.louwes@pznl.nl::afde4120-2980-4fd3-9aab-23d0ef32f51f" providerId="AD" clId="Web-{1CC9C2E8-73C7-E336-221E-A51E2FD8D020}" dt="2024-08-14T12:30:19.173" v="43" actId="20577"/>
        <pc:sldMkLst>
          <pc:docMk/>
          <pc:sldMk cId="4093672542" sldId="290"/>
        </pc:sldMkLst>
        <pc:spChg chg="mod">
          <ac:chgData name="Ank Louwes" userId="S::a.louwes@pznl.nl::afde4120-2980-4fd3-9aab-23d0ef32f51f" providerId="AD" clId="Web-{1CC9C2E8-73C7-E336-221E-A51E2FD8D020}" dt="2024-08-14T12:30:19.173" v="43" actId="20577"/>
          <ac:spMkLst>
            <pc:docMk/>
            <pc:sldMk cId="4093672542" sldId="290"/>
            <ac:spMk id="3" creationId="{75D48A8E-5912-3EBA-8A96-ADB9A465DF1F}"/>
          </ac:spMkLst>
        </pc:spChg>
      </pc:sldChg>
    </pc:docChg>
  </pc:docChgLst>
  <pc:docChgLst>
    <pc:chgData name="Elise Posma" userId="S::e.posma@pznl.nl::0b5ac1b5-28cd-4814-9a1c-0820a8913ccf" providerId="AD" clId="Web-{E61A0A2C-C6D9-5D3A-F7E3-FD09FE2BA646}"/>
    <pc:docChg chg="modSld">
      <pc:chgData name="Elise Posma" userId="S::e.posma@pznl.nl::0b5ac1b5-28cd-4814-9a1c-0820a8913ccf" providerId="AD" clId="Web-{E61A0A2C-C6D9-5D3A-F7E3-FD09FE2BA646}" dt="2024-12-02T15:00:29.835" v="2" actId="1076"/>
      <pc:docMkLst>
        <pc:docMk/>
      </pc:docMkLst>
      <pc:sldChg chg="addSp delSp modSp">
        <pc:chgData name="Elise Posma" userId="S::e.posma@pznl.nl::0b5ac1b5-28cd-4814-9a1c-0820a8913ccf" providerId="AD" clId="Web-{E61A0A2C-C6D9-5D3A-F7E3-FD09FE2BA646}" dt="2024-12-02T15:00:29.835" v="2" actId="1076"/>
        <pc:sldMkLst>
          <pc:docMk/>
          <pc:sldMk cId="3113140432" sldId="293"/>
        </pc:sldMkLst>
        <pc:picChg chg="add mod">
          <ac:chgData name="Elise Posma" userId="S::e.posma@pznl.nl::0b5ac1b5-28cd-4814-9a1c-0820a8913ccf" providerId="AD" clId="Web-{E61A0A2C-C6D9-5D3A-F7E3-FD09FE2BA646}" dt="2024-12-02T15:00:29.835" v="2" actId="1076"/>
          <ac:picMkLst>
            <pc:docMk/>
            <pc:sldMk cId="3113140432" sldId="293"/>
            <ac:picMk id="2" creationId="{64068050-5F98-BF41-1B0C-E7B37DD8138C}"/>
          </ac:picMkLst>
        </pc:picChg>
        <pc:picChg chg="del">
          <ac:chgData name="Elise Posma" userId="S::e.posma@pznl.nl::0b5ac1b5-28cd-4814-9a1c-0820a8913ccf" providerId="AD" clId="Web-{E61A0A2C-C6D9-5D3A-F7E3-FD09FE2BA646}" dt="2024-12-02T15:00:23.085" v="0"/>
          <ac:picMkLst>
            <pc:docMk/>
            <pc:sldMk cId="3113140432" sldId="293"/>
            <ac:picMk id="3" creationId="{24A98D80-5B85-1F7E-781E-B5797C407DFB}"/>
          </ac:picMkLst>
        </pc:picChg>
      </pc:sldChg>
    </pc:docChg>
  </pc:docChgLst>
  <pc:docChgLst>
    <pc:chgData name="Elise Posma" userId="S::e.posma@pznl.nl::0b5ac1b5-28cd-4814-9a1c-0820a8913ccf" providerId="AD" clId="Web-{4EA5ABF4-2065-BE11-03AA-081EF9AA595A}"/>
    <pc:docChg chg="modSld">
      <pc:chgData name="Elise Posma" userId="S::e.posma@pznl.nl::0b5ac1b5-28cd-4814-9a1c-0820a8913ccf" providerId="AD" clId="Web-{4EA5ABF4-2065-BE11-03AA-081EF9AA595A}" dt="2024-07-15T09:08:44.102" v="1" actId="20577"/>
      <pc:docMkLst>
        <pc:docMk/>
      </pc:docMkLst>
      <pc:sldChg chg="modSp">
        <pc:chgData name="Elise Posma" userId="S::e.posma@pznl.nl::0b5ac1b5-28cd-4814-9a1c-0820a8913ccf" providerId="AD" clId="Web-{4EA5ABF4-2065-BE11-03AA-081EF9AA595A}" dt="2024-07-15T09:08:44.102" v="1" actId="20577"/>
        <pc:sldMkLst>
          <pc:docMk/>
          <pc:sldMk cId="409741479" sldId="268"/>
        </pc:sldMkLst>
        <pc:spChg chg="mod">
          <ac:chgData name="Elise Posma" userId="S::e.posma@pznl.nl::0b5ac1b5-28cd-4814-9a1c-0820a8913ccf" providerId="AD" clId="Web-{4EA5ABF4-2065-BE11-03AA-081EF9AA595A}" dt="2024-07-15T09:08:44.102" v="1" actId="20577"/>
          <ac:spMkLst>
            <pc:docMk/>
            <pc:sldMk cId="409741479" sldId="268"/>
            <ac:spMk id="12" creationId="{3F5A8134-E7D5-CE49-8A49-368D6389E008}"/>
          </ac:spMkLst>
        </pc:spChg>
      </pc:sldChg>
    </pc:docChg>
  </pc:docChgLst>
  <pc:docChgLst>
    <pc:chgData name="Elise Posma" userId="0b5ac1b5-28cd-4814-9a1c-0820a8913ccf" providerId="ADAL" clId="{C1398C1C-ED1A-4EDA-AD38-C36A666D8F9C}"/>
    <pc:docChg chg="modSld">
      <pc:chgData name="Elise Posma" userId="0b5ac1b5-28cd-4814-9a1c-0820a8913ccf" providerId="ADAL" clId="{C1398C1C-ED1A-4EDA-AD38-C36A666D8F9C}" dt="2024-12-02T15:01:04.612" v="2" actId="1076"/>
      <pc:docMkLst>
        <pc:docMk/>
      </pc:docMkLst>
      <pc:sldChg chg="modSp mod">
        <pc:chgData name="Elise Posma" userId="0b5ac1b5-28cd-4814-9a1c-0820a8913ccf" providerId="ADAL" clId="{C1398C1C-ED1A-4EDA-AD38-C36A666D8F9C}" dt="2024-12-02T15:01:04.612" v="2" actId="1076"/>
        <pc:sldMkLst>
          <pc:docMk/>
          <pc:sldMk cId="3113140432" sldId="293"/>
        </pc:sldMkLst>
        <pc:spChg chg="mod">
          <ac:chgData name="Elise Posma" userId="0b5ac1b5-28cd-4814-9a1c-0820a8913ccf" providerId="ADAL" clId="{C1398C1C-ED1A-4EDA-AD38-C36A666D8F9C}" dt="2024-12-02T15:01:01.228" v="1" actId="20577"/>
          <ac:spMkLst>
            <pc:docMk/>
            <pc:sldMk cId="3113140432" sldId="293"/>
            <ac:spMk id="10" creationId="{0AFA99E9-A936-FEA0-C97B-FC32E5F1AB3D}"/>
          </ac:spMkLst>
        </pc:spChg>
        <pc:picChg chg="mod">
          <ac:chgData name="Elise Posma" userId="0b5ac1b5-28cd-4814-9a1c-0820a8913ccf" providerId="ADAL" clId="{C1398C1C-ED1A-4EDA-AD38-C36A666D8F9C}" dt="2024-12-02T15:01:04.612" v="2" actId="1076"/>
          <ac:picMkLst>
            <pc:docMk/>
            <pc:sldMk cId="3113140432" sldId="293"/>
            <ac:picMk id="2" creationId="{64068050-5F98-BF41-1B0C-E7B37DD8138C}"/>
          </ac:picMkLst>
        </pc:picChg>
      </pc:sldChg>
    </pc:docChg>
  </pc:docChgLst>
  <pc:docChgLst>
    <pc:chgData name="Elise Posma" userId="S::e.posma@pznl.nl::0b5ac1b5-28cd-4814-9a1c-0820a8913ccf" providerId="AD" clId="Web-{C08D2320-BB81-FF75-F0EC-A38AFF74E327}"/>
    <pc:docChg chg="modSld">
      <pc:chgData name="Elise Posma" userId="S::e.posma@pznl.nl::0b5ac1b5-28cd-4814-9a1c-0820a8913ccf" providerId="AD" clId="Web-{C08D2320-BB81-FF75-F0EC-A38AFF74E327}" dt="2024-08-05T13:35:08.922" v="7" actId="1076"/>
      <pc:docMkLst>
        <pc:docMk/>
      </pc:docMkLst>
      <pc:sldChg chg="addSp delSp modSp">
        <pc:chgData name="Elise Posma" userId="S::e.posma@pznl.nl::0b5ac1b5-28cd-4814-9a1c-0820a8913ccf" providerId="AD" clId="Web-{C08D2320-BB81-FF75-F0EC-A38AFF74E327}" dt="2024-08-05T13:35:08.922" v="7" actId="1076"/>
        <pc:sldMkLst>
          <pc:docMk/>
          <pc:sldMk cId="1504154189" sldId="272"/>
        </pc:sldMkLst>
        <pc:picChg chg="del">
          <ac:chgData name="Elise Posma" userId="S::e.posma@pznl.nl::0b5ac1b5-28cd-4814-9a1c-0820a8913ccf" providerId="AD" clId="Web-{C08D2320-BB81-FF75-F0EC-A38AFF74E327}" dt="2024-08-05T13:34:51.328" v="0"/>
          <ac:picMkLst>
            <pc:docMk/>
            <pc:sldMk cId="1504154189" sldId="272"/>
            <ac:picMk id="2" creationId="{A1DEF82E-F5B4-3109-7344-3DE16E5D7BAD}"/>
          </ac:picMkLst>
        </pc:picChg>
        <pc:picChg chg="add mod">
          <ac:chgData name="Elise Posma" userId="S::e.posma@pznl.nl::0b5ac1b5-28cd-4814-9a1c-0820a8913ccf" providerId="AD" clId="Web-{C08D2320-BB81-FF75-F0EC-A38AFF74E327}" dt="2024-08-05T13:35:08.922" v="7" actId="1076"/>
          <ac:picMkLst>
            <pc:docMk/>
            <pc:sldMk cId="1504154189" sldId="272"/>
            <ac:picMk id="4" creationId="{50D68408-AD98-6D78-2524-E833E77F09B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Aan de slag</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an de hand van een casus.</a:t>
            </a:r>
          </a:p>
          <a:p>
            <a:endParaRPr lang="nl-NL" dirty="0">
              <a:cs typeface="Calibri"/>
            </a:endParaRPr>
          </a:p>
          <a:p>
            <a:r>
              <a:rPr lang="nl-NL" dirty="0">
                <a:cs typeface="Calibri"/>
              </a:rPr>
              <a:t>Inhoud: </a:t>
            </a:r>
          </a:p>
          <a:p>
            <a:r>
              <a:rPr lang="nl-NL" dirty="0">
                <a:cs typeface="Calibri"/>
              </a:rPr>
              <a:t>Maak een keuze tussen de casus 'Proactieve zorgplanning bij een patiënt met Parkinson (voor WO studenten) of de casus uit het boek 'In gesprek over het leven en het einde', hoofdstuk 3.</a:t>
            </a:r>
            <a:endParaRPr lang="nl-NL" dirty="0">
              <a:ea typeface="Calibri"/>
              <a:cs typeface="Calibri"/>
            </a:endParaRPr>
          </a:p>
          <a:p>
            <a:endParaRPr lang="nl-NL" dirty="0">
              <a:cs typeface="Calibri"/>
            </a:endParaRPr>
          </a:p>
          <a:p>
            <a:r>
              <a:rPr lang="nl-NL" dirty="0">
                <a:cs typeface="Calibri"/>
              </a:rPr>
              <a:t>Bij de keuze voor de casus met een patiënt met Parkinson: deelnemers vormen groepjes van max. 6 personen en spelen een rollenspel. Hierbij voeren twee het gesprek (de patiënt met Parkinson en de arts) observeren de andere 4 deelnemers. </a:t>
            </a:r>
          </a:p>
          <a:p>
            <a:r>
              <a:rPr lang="nl-NL" dirty="0">
                <a:cs typeface="Calibri"/>
              </a:rPr>
              <a:t>Licht de casus toe a.d.h.v. de rolbeschrijving, situatie zoals beschreven in de link:</a:t>
            </a:r>
          </a:p>
          <a:p>
            <a:r>
              <a:rPr lang="nl-NL" u="sng" dirty="0">
                <a:cs typeface="Calibri"/>
              </a:rPr>
              <a:t>https://palliaweb.nl/getmedia/1fc5d8d9-30c2-44c9-9bb4-d41b98c4e2fd/Rolbeschrijving-parkinson_nw.pdf </a:t>
            </a:r>
          </a:p>
          <a:p>
            <a:endParaRPr lang="nl-NL" dirty="0">
              <a:cs typeface="Calibri" panose="020F0502020204030204"/>
            </a:endParaRPr>
          </a:p>
          <a:p>
            <a:pPr>
              <a:lnSpc>
                <a:spcPct val="110000"/>
              </a:lnSpc>
              <a:spcAft>
                <a:spcPts val="600"/>
              </a:spcAft>
            </a:pPr>
            <a:r>
              <a:rPr lang="nl-NL" dirty="0">
                <a:cs typeface="Calibri" panose="020F0502020204030204"/>
              </a:rPr>
              <a:t>Volgende dia: aan de slag</a:t>
            </a:r>
            <a:endParaRPr lang="nl-NL" dirty="0">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3: ‘</a:t>
            </a:r>
            <a:r>
              <a:rPr lang="nl-NL">
                <a:cs typeface="Calibri"/>
              </a:rPr>
              <a:t>Praten over de toekomst’’.</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r>
              <a:rPr lang="nl-NL" dirty="0"/>
              <a:t>aan de hand van een casus.</a:t>
            </a:r>
          </a:p>
          <a:p>
            <a:endParaRPr lang="nl-NL">
              <a:cs typeface="Calibri"/>
            </a:endParaRPr>
          </a:p>
          <a:p>
            <a:endParaRPr lang="nl-NL">
              <a:cs typeface="Calibri"/>
            </a:endParaRPr>
          </a:p>
          <a:p>
            <a:r>
              <a:rPr lang="nl-NL" dirty="0">
                <a:cs typeface="Calibri"/>
              </a:rPr>
              <a:t>Inhoud: </a:t>
            </a:r>
            <a:endParaRPr lang="nl-NL" dirty="0">
              <a:ea typeface="Calibri"/>
              <a:cs typeface="Calibri"/>
            </a:endParaRPr>
          </a:p>
          <a:p>
            <a:r>
              <a:rPr lang="nl-NL" dirty="0"/>
              <a:t>Maak een keuze tussen de casus 'Proactieve zorgplanning bij een patiënt met Parkinson (voor WO studenten) of de casus uit het boek 'In gesprek over het leven en het einde'.</a:t>
            </a:r>
            <a:endParaRPr lang="en-US" dirty="0"/>
          </a:p>
          <a:p>
            <a:endParaRPr lang="nl-NL"/>
          </a:p>
          <a:p>
            <a:r>
              <a:rPr lang="nl-NL" dirty="0"/>
              <a:t>Bij de keuze voor de casus: </a:t>
            </a:r>
            <a:endParaRPr lang="nl-NL" dirty="0">
              <a:cs typeface="Calibri" panose="020F0502020204030204"/>
            </a:endParaRPr>
          </a:p>
          <a:p>
            <a:r>
              <a:rPr lang="nl-NL" dirty="0">
                <a:cs typeface="Calibri" panose="020F0502020204030204"/>
              </a:rPr>
              <a:t>Licht de casus toe uit het boek ‘In gesprek over het leven en het einde’ (Oskam et al., 2023) hoofdstuk ‘Hoofdstuk 3: 'Praten over de toekomst’.</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Aan de slag</a:t>
            </a:r>
            <a:endParaRPr lang="nl-NL" dirty="0">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553023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7B04A-94B2-0D68-F469-B09D0EAAEA0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440C228-30D9-5119-4A60-54680A90B2C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32EDBF4-84CD-17E0-AE47-23D27D1C0AA3}"/>
              </a:ext>
            </a:extLst>
          </p:cNvPr>
          <p:cNvSpPr>
            <a:spLocks noGrp="1"/>
          </p:cNvSpPr>
          <p:nvPr>
            <p:ph type="body" idx="1"/>
          </p:nvPr>
        </p:nvSpPr>
        <p:spPr/>
        <p:txBody>
          <a:bodyPr/>
          <a:lstStyle/>
          <a:p>
            <a:r>
              <a:rPr lang="nl-NL" dirty="0">
                <a:cs typeface="Calibri"/>
              </a:rPr>
              <a:t>Werkvorm: uitwisselen van kennis/ideeën in groepjes </a:t>
            </a:r>
            <a:r>
              <a:rPr lang="nl-NL" dirty="0"/>
              <a:t>aan de hand van een casus.</a:t>
            </a:r>
          </a:p>
          <a:p>
            <a:endParaRPr lang="nl-NL">
              <a:cs typeface="Calibri"/>
            </a:endParaRPr>
          </a:p>
          <a:p>
            <a:endParaRPr lang="nl-NL">
              <a:cs typeface="Calibri"/>
            </a:endParaRPr>
          </a:p>
          <a:p>
            <a:r>
              <a:rPr lang="nl-NL" dirty="0">
                <a:cs typeface="Calibri"/>
              </a:rPr>
              <a:t>Inhoud: </a:t>
            </a:r>
            <a:endParaRPr lang="nl-NL" dirty="0">
              <a:ea typeface="Calibri"/>
              <a:cs typeface="Calibri"/>
            </a:endParaRPr>
          </a:p>
          <a:p>
            <a:r>
              <a:rPr lang="nl-NL" dirty="0"/>
              <a:t>Maak een keuze tussen de casus 'Proactieve zorgplanning bij een patiënt met Parkinson (voor WO studenten) of de casus uit het boek 'In gesprek over het leven en het einde'.</a:t>
            </a:r>
            <a:endParaRPr lang="en-US" dirty="0"/>
          </a:p>
          <a:p>
            <a:endParaRPr lang="nl-NL"/>
          </a:p>
          <a:p>
            <a:r>
              <a:rPr lang="nl-NL" dirty="0"/>
              <a:t>Bij de keuze voor de casus: </a:t>
            </a:r>
            <a:endParaRPr lang="nl-NL" dirty="0">
              <a:cs typeface="Calibri" panose="020F0502020204030204"/>
            </a:endParaRPr>
          </a:p>
          <a:p>
            <a:r>
              <a:rPr lang="nl-NL" dirty="0">
                <a:cs typeface="Calibri" panose="020F0502020204030204"/>
              </a:rPr>
              <a:t>Licht de casus toe uit het boek ‘In gesprek over het leven en het einde’ (Oskam et al., 2023) hoofdstuk ‘Hoofdstuk 3: 'Praten over de toekomst’.</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Aan de slag</a:t>
            </a:r>
            <a:endParaRPr lang="nl-NL" dirty="0">
              <a:ea typeface="Calibri"/>
              <a:cs typeface="Calibri" panose="020F0502020204030204"/>
            </a:endParaRPr>
          </a:p>
        </p:txBody>
      </p:sp>
      <p:sp>
        <p:nvSpPr>
          <p:cNvPr id="4" name="Tijdelijke aanduiding voor dianummer 3">
            <a:extLst>
              <a:ext uri="{FF2B5EF4-FFF2-40B4-BE49-F238E27FC236}">
                <a16:creationId xmlns:a16="http://schemas.microsoft.com/office/drawing/2014/main" id="{ADCD3FCE-C1AF-CF43-F5AF-106BA1369BA2}"/>
              </a:ext>
            </a:extLst>
          </p:cNvPr>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2388662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endParaRPr lang="nl-NL" dirty="0"/>
          </a:p>
          <a:p>
            <a:pPr>
              <a:lnSpc>
                <a:spcPct val="110000"/>
              </a:lnSpc>
              <a:spcAft>
                <a:spcPts val="1200"/>
              </a:spcAft>
            </a:pPr>
            <a:r>
              <a:rPr lang="nl-NL" dirty="0"/>
              <a:t>Bespreek in groepjes van 3 à 4 personen de volgende vragen:</a:t>
            </a:r>
            <a:endParaRPr lang="nl-NL" dirty="0">
              <a:ea typeface="Calibri"/>
              <a:cs typeface="Calibri" panose="020F0502020204030204"/>
            </a:endParaRPr>
          </a:p>
          <a:p>
            <a:pPr>
              <a:lnSpc>
                <a:spcPct val="110000"/>
              </a:lnSpc>
              <a:spcAft>
                <a:spcPts val="1200"/>
              </a:spcAft>
            </a:pPr>
            <a:endParaRPr lang="nl-NL" b="1" dirty="0"/>
          </a:p>
          <a:p>
            <a:pPr marL="342900" indent="-342900">
              <a:lnSpc>
                <a:spcPct val="110000"/>
              </a:lnSpc>
              <a:spcAft>
                <a:spcPts val="1200"/>
              </a:spcAft>
              <a:buAutoNum type="alphaLcParenR"/>
            </a:pPr>
            <a:r>
              <a:rPr lang="nl-NL" dirty="0"/>
              <a:t>Welke meerwaarde heeft proactieve zorgplanning voor meneer van der Valk?</a:t>
            </a:r>
            <a:endParaRPr lang="nl-NL" dirty="0">
              <a:ea typeface="Calibri"/>
              <a:cs typeface="Calibri"/>
            </a:endParaRPr>
          </a:p>
          <a:p>
            <a:pPr marL="342900" indent="-342900">
              <a:lnSpc>
                <a:spcPct val="110000"/>
              </a:lnSpc>
              <a:spcAft>
                <a:spcPts val="1200"/>
              </a:spcAft>
              <a:buAutoNum type="alphaLcParenR"/>
            </a:pPr>
            <a:r>
              <a:rPr lang="nl-NL" dirty="0"/>
              <a:t>En wat kan proactieve zorgplanning jou als zorgverlener opleveren?</a:t>
            </a:r>
            <a:endParaRPr lang="nl-NL" dirty="0">
              <a:ea typeface="Calibri"/>
              <a:cs typeface="Calibri"/>
            </a:endParaRPr>
          </a:p>
          <a:p>
            <a:pPr marL="342900" indent="-342900">
              <a:lnSpc>
                <a:spcPct val="110000"/>
              </a:lnSpc>
              <a:spcAft>
                <a:spcPts val="1200"/>
              </a:spcAft>
              <a:buAutoNum type="alphaLcParenR"/>
            </a:pPr>
            <a:r>
              <a:rPr lang="nl-NL" dirty="0"/>
              <a:t>Hoe zou je als zorgverlener bij meneer van der Valk en zijn vrouw een zorgplan opstellen?</a:t>
            </a:r>
            <a:endParaRPr lang="nl-NL" dirty="0">
              <a:ea typeface="Calibri"/>
              <a:cs typeface="Calibri"/>
            </a:endParaRPr>
          </a:p>
          <a:p>
            <a:pPr marL="342900" indent="-342900">
              <a:lnSpc>
                <a:spcPct val="110000"/>
              </a:lnSpc>
              <a:spcAft>
                <a:spcPts val="1200"/>
              </a:spcAft>
              <a:buAutoNum type="alphaLcParenR"/>
            </a:pPr>
            <a:r>
              <a:rPr lang="nl-NL" dirty="0"/>
              <a:t>Verschilt dit met een situatie waarbij er geen partner is die ook zorg ontvangt? </a:t>
            </a:r>
            <a:endParaRPr lang="nl-NL" dirty="0">
              <a:ea typeface="Calibri"/>
              <a:cs typeface="Calibri"/>
            </a:endParaRPr>
          </a:p>
          <a:p>
            <a:pPr marL="342900" indent="-342900">
              <a:lnSpc>
                <a:spcPct val="110000"/>
              </a:lnSpc>
              <a:spcAft>
                <a:spcPts val="1200"/>
              </a:spcAft>
              <a:buAutoNum type="alphaLcParenR"/>
            </a:pPr>
            <a:r>
              <a:rPr lang="nl-NL" dirty="0"/>
              <a:t>Wat doe je wanneer een gesprek over proactieve zorgplanning met de patiënt en naasten niet lukt of niet goed wordt ontvangen?</a:t>
            </a:r>
            <a:endParaRPr lang="en-US" dirty="0"/>
          </a:p>
          <a:p>
            <a:pPr marL="342900" indent="-342900">
              <a:lnSpc>
                <a:spcPct val="110000"/>
              </a:lnSpc>
              <a:spcAft>
                <a:spcPts val="1200"/>
              </a:spcAft>
              <a:buAutoNum type="alphaLcParenR"/>
            </a:pPr>
            <a:r>
              <a:rPr lang="nl-NL" dirty="0"/>
              <a:t>Hoe zorg je ervoor dat andere betrokken zorgverleners op de hoogte zijn van proactieve zorgplanningsgesprekken en hoe werk je daarin samen binnen verschillende zorgsettingen? Hoe houd je het (proactieve)zorgplan actueel?</a:t>
            </a:r>
            <a:endParaRPr lang="nl-NL" dirty="0">
              <a:ea typeface="Calibri"/>
              <a:cs typeface="Calibri"/>
            </a:endParaRPr>
          </a:p>
          <a:p>
            <a:pPr marL="342900" indent="-342900">
              <a:spcAft>
                <a:spcPts val="1200"/>
              </a:spcAft>
              <a:buAutoNum type="alphaLcParenR" startAt="4"/>
            </a:pPr>
            <a:endParaRPr lang="nl-NL" sz="1800" b="1" dirty="0">
              <a:ea typeface="Calibri"/>
              <a:cs typeface="Calibri"/>
            </a:endParaRPr>
          </a:p>
          <a:p>
            <a:pPr>
              <a:lnSpc>
                <a:spcPct val="110000"/>
              </a:lnSpc>
              <a:spcAft>
                <a:spcPts val="600"/>
              </a:spcAft>
              <a:defRPr/>
            </a:pPr>
            <a:r>
              <a:rPr lang="nl-NL" dirty="0">
                <a:cs typeface="Calibri"/>
              </a:rPr>
              <a:t>Volgende dia: Aan de slag </a:t>
            </a:r>
            <a:r>
              <a:rPr lang="nl-NL" dirty="0"/>
              <a:t>vanuit verschillende invalshoeke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ea typeface="Calibri"/>
              <a:cs typeface="Calibri"/>
            </a:endParaRPr>
          </a:p>
          <a:p>
            <a:pPr>
              <a:lnSpc>
                <a:spcPct val="110000"/>
              </a:lnSpc>
              <a:spcAft>
                <a:spcPts val="600"/>
              </a:spcAft>
              <a:defRPr/>
            </a:pPr>
            <a:r>
              <a:rPr lang="nl-NL" dirty="0"/>
              <a:t>Deelnemers gaan met elkaar in gesprek aan de hand van de casus met de bijbehorende vragen. Indien je hier een werkvorm aan toe wil voegen, kunnen de deelnemers de vragen beantwoorden vanuit verschillende invalshoeken:</a:t>
            </a:r>
            <a:endParaRPr lang="en-US" dirty="0"/>
          </a:p>
          <a:p>
            <a:pPr marL="342900" lvl="0" indent="-342900">
              <a:buFont typeface="Poppins,Sans-Serif"/>
              <a:buChar char="•"/>
            </a:pPr>
            <a:r>
              <a:rPr lang="nl-NL" dirty="0"/>
              <a:t>Analytisch</a:t>
            </a:r>
          </a:p>
          <a:p>
            <a:pPr marL="342900" lvl="0" indent="-342900">
              <a:buFont typeface="Poppins,Sans-Serif"/>
              <a:buChar char="•"/>
            </a:pPr>
            <a:r>
              <a:rPr lang="nl-NL" dirty="0"/>
              <a:t>Positief</a:t>
            </a:r>
          </a:p>
          <a:p>
            <a:pPr marL="342900" lvl="0" indent="-342900">
              <a:buFont typeface="Poppins,Sans-Serif"/>
              <a:buChar char="•"/>
            </a:pPr>
            <a:r>
              <a:rPr lang="nl-NL" dirty="0"/>
              <a:t>Gevoelsmatig</a:t>
            </a:r>
          </a:p>
          <a:p>
            <a:pPr marL="0" lvl="0" indent="0">
              <a:buNone/>
            </a:pPr>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dirty="0"/>
          </a:p>
          <a:p>
            <a:pPr>
              <a:lnSpc>
                <a:spcPct val="110000"/>
              </a:lnSpc>
              <a:spcAft>
                <a:spcPts val="600"/>
              </a:spcAft>
            </a:pPr>
            <a:endParaRPr lang="nl-NL" dirty="0">
              <a:ea typeface="Calibri"/>
              <a:cs typeface="Calibri"/>
            </a:endParaRPr>
          </a:p>
          <a:p>
            <a:pPr>
              <a:lnSpc>
                <a:spcPct val="110000"/>
              </a:lnSpc>
              <a:spcAft>
                <a:spcPts val="600"/>
              </a:spcAft>
            </a:pPr>
            <a:r>
              <a:rPr lang="nl-NL" dirty="0">
                <a:cs typeface="Calibri"/>
              </a:rPr>
              <a:t>Volgende dia: casus III</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reflecteren op eigen handelen in groepjes aan de hand van een casus.</a:t>
            </a:r>
            <a:endParaRPr lang="en-US"/>
          </a:p>
          <a:p>
            <a:endParaRPr lang="nl-NL"/>
          </a:p>
          <a:p>
            <a:r>
              <a:rPr lang="nl-NL" dirty="0"/>
              <a:t>Inhoud: </a:t>
            </a:r>
            <a:endParaRPr lang="en-US"/>
          </a:p>
          <a:p>
            <a:r>
              <a:rPr lang="nl-NL" dirty="0"/>
              <a:t>Licht de casus toe uit het boek ‘In gesprek over het leven en het einde’ (Oskam et al.,2023), hoofdstuk ‘Hoofdstuk 3: ‘Praten over de toekomst'.</a:t>
            </a:r>
            <a:endParaRPr lang="en-US" dirty="0"/>
          </a:p>
          <a:p>
            <a:endParaRPr lang="en-US">
              <a:ea typeface="Calibri"/>
              <a:cs typeface="Calibri"/>
            </a:endParaRPr>
          </a:p>
          <a:p>
            <a:r>
              <a:rPr lang="en-US" dirty="0" err="1">
                <a:ea typeface="Calibri"/>
                <a:cs typeface="Calibri"/>
              </a:rPr>
              <a:t>Volgende</a:t>
            </a:r>
            <a:r>
              <a:rPr lang="en-US" dirty="0">
                <a:ea typeface="Calibri"/>
                <a:cs typeface="Calibri"/>
              </a:rPr>
              <a:t> </a:t>
            </a:r>
            <a:r>
              <a:rPr lang="en-US" dirty="0" err="1">
                <a:ea typeface="Calibri"/>
                <a:cs typeface="Calibri"/>
              </a:rPr>
              <a:t>dia</a:t>
            </a:r>
            <a:r>
              <a:rPr lang="en-US" dirty="0">
                <a:ea typeface="Calibri"/>
                <a:cs typeface="Calibri"/>
              </a:rPr>
              <a:t>: </a:t>
            </a:r>
            <a:r>
              <a:rPr lang="nl-NL" dirty="0"/>
              <a:t>Reflecteren op eigen handelen – voorbeeld reflectievragen</a:t>
            </a:r>
            <a:endParaRPr lang="en-US">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592861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dirty="0">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p>
          <a:p>
            <a:pPr>
              <a:lnSpc>
                <a:spcPct val="110000"/>
              </a:lnSpc>
              <a:spcAft>
                <a:spcPts val="600"/>
              </a:spcAft>
            </a:pPr>
            <a:endParaRPr lang="en-US" dirty="0"/>
          </a:p>
          <a:p>
            <a:pPr fontAlgn="base">
              <a:spcAft>
                <a:spcPts val="600"/>
              </a:spcAft>
            </a:pPr>
            <a:r>
              <a:rPr lang="nl-NL" sz="1200" dirty="0"/>
              <a:t>Stel je de situatie voor die zich bij</a:t>
            </a:r>
            <a:r>
              <a:rPr lang="nl-NL" dirty="0"/>
              <a:t> casus </a:t>
            </a:r>
            <a:r>
              <a:rPr lang="nl-NL" sz="1200" dirty="0"/>
              <a:t>Jeroen afspeelde</a:t>
            </a:r>
            <a:r>
              <a:rPr lang="nl-NL" dirty="0"/>
              <a:t> (uit hoofdstuk 3 in het boek 'In gesprek over het leven en het einde'. </a:t>
            </a:r>
            <a:endParaRPr lang="nl-NL" sz="1200" dirty="0">
              <a:cs typeface="Calibri"/>
            </a:endParaRPr>
          </a:p>
          <a:p>
            <a:pPr marL="287655" indent="-287655">
              <a:lnSpc>
                <a:spcPct val="110000"/>
              </a:lnSpc>
              <a:spcAft>
                <a:spcPts val="600"/>
              </a:spcAft>
              <a:buFont typeface="+mj-lt"/>
              <a:buAutoNum type="arabicPeriod"/>
            </a:pPr>
            <a:r>
              <a:rPr lang="nl-NL" dirty="0"/>
              <a:t>Hoe zou jij als zorgverlener hebben gehandeld in de situatie die zich bij Jeroen afspeelde? </a:t>
            </a:r>
            <a:endParaRPr lang="nl-NL" dirty="0">
              <a:cs typeface="Calibri" panose="020F0502020204030204"/>
            </a:endParaRPr>
          </a:p>
          <a:p>
            <a:pPr marL="287655" indent="-287655">
              <a:lnSpc>
                <a:spcPct val="110000"/>
              </a:lnSpc>
              <a:spcAft>
                <a:spcPts val="600"/>
              </a:spcAft>
              <a:buFont typeface="+mj-lt"/>
              <a:buAutoNum type="arabicPeriod"/>
            </a:pPr>
            <a:r>
              <a:rPr lang="nl-NL" dirty="0"/>
              <a:t>Op welk moment in het ziekteproces was met je proactieve zorgplanning (vooruit denken, plannen en organiseren) gestart? </a:t>
            </a:r>
            <a:endParaRPr lang="nl-NL" dirty="0">
              <a:cs typeface="Calibri" panose="020F0502020204030204"/>
            </a:endParaRPr>
          </a:p>
          <a:p>
            <a:pPr marL="287655" indent="-287655">
              <a:lnSpc>
                <a:spcPct val="110000"/>
              </a:lnSpc>
              <a:spcAft>
                <a:spcPts val="600"/>
              </a:spcAft>
              <a:buFont typeface="+mj-lt"/>
              <a:buAutoNum type="arabicPeriod"/>
            </a:pPr>
            <a:r>
              <a:rPr lang="nl-NL" dirty="0"/>
              <a:t>Had jij het anders aangepakt in de laatste fase en zo ja, wat had je anders gedaan?</a:t>
            </a:r>
            <a:endParaRPr lang="en-US" dirty="0"/>
          </a:p>
          <a:p>
            <a:pPr marL="287655" indent="-287655">
              <a:lnSpc>
                <a:spcPct val="110000"/>
              </a:lnSpc>
              <a:spcAft>
                <a:spcPts val="600"/>
              </a:spcAft>
              <a:buFont typeface="+mj-lt"/>
              <a:buAutoNum type="arabicPeriod"/>
            </a:pPr>
            <a:r>
              <a:rPr lang="nl-NL" dirty="0"/>
              <a:t>Wat zijn jouw persoonlijke ervaringen: wat vind jij moeilijk aan proactieve zorgplanning, waar loop je tegenaan? Wat kan jou hierbij helpen?</a:t>
            </a:r>
          </a:p>
          <a:p>
            <a:pPr marL="0" indent="0">
              <a:lnSpc>
                <a:spcPct val="110000"/>
              </a:lnSpc>
              <a:spcAft>
                <a:spcPts val="600"/>
              </a:spcAft>
              <a:buFont typeface="Arial"/>
              <a:buNone/>
            </a:pPr>
            <a:endParaRPr lang="nl-NL" dirty="0">
              <a:cs typeface="Calibri"/>
            </a:endParaRPr>
          </a:p>
          <a:p>
            <a:pPr>
              <a:lnSpc>
                <a:spcPct val="110000"/>
              </a:lnSpc>
              <a:spcAft>
                <a:spcPts val="600"/>
              </a:spcAft>
            </a:pPr>
            <a:r>
              <a:rPr lang="nl-NL" dirty="0">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ea typeface="Calibri" panose="020F0502020204030204"/>
                <a:cs typeface="Calibri" panose="020F0502020204030204"/>
              </a:rPr>
              <a:t>Meer informatie is te vinden via deze links. </a:t>
            </a:r>
            <a:endParaRPr lang="nl-NL"/>
          </a:p>
          <a:p>
            <a:endParaRPr lang="nl-NL">
              <a:ea typeface="Calibri" panose="020F0502020204030204"/>
              <a:cs typeface="Calibri" panose="020F0502020204030204"/>
            </a:endParaRPr>
          </a:p>
          <a:p>
            <a:r>
              <a:rPr lang="nl-NL"/>
              <a:t>Volgende dia: Afsluit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Proactieve zorgplanning. Proactieve zorgplann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Proactieve zorgplanning</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Proactieve zorgplann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p>
          <a:p>
            <a:pPr>
              <a:lnSpc>
                <a:spcPct val="110000"/>
              </a:lnSpc>
            </a:pPr>
            <a:r>
              <a:rPr lang="nl-NL" i="0" dirty="0">
                <a:cs typeface="Calibri"/>
              </a:rPr>
              <a:t>Deelnemers denken elk voor zich na over wat zij verstaan onder proactieve zorgplanning. Deelnemers bespreken dit vervolgens kort (5-10 min), bijvoorbeeld in tweetallen.</a:t>
            </a: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pPr>
            <a:endParaRPr lang="nl-NL" i="0" dirty="0">
              <a:cs typeface="Calibri"/>
            </a:endParaRPr>
          </a:p>
          <a:p>
            <a:pPr>
              <a:lnSpc>
                <a:spcPct val="110000"/>
              </a:lnSpc>
            </a:pPr>
            <a:endParaRPr lang="nl-NL" i="0" dirty="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dirty="0"/>
              <a:t>Volgende dia: Animatie Proactieve zorgplann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proactieve zorgplanning tonen door trainer</a:t>
            </a:r>
          </a:p>
          <a:p>
            <a:r>
              <a:rPr lang="nl-NL">
                <a:cs typeface="Calibri" panose="020F0502020204030204"/>
              </a:rPr>
              <a:t>Inhoud: De animatie geeft een korte samenvatting van proactieve zorgplanning.</a:t>
            </a:r>
          </a:p>
          <a:p>
            <a:endParaRPr lang="nl-NL">
              <a:cs typeface="Calibri" panose="020F0502020204030204"/>
            </a:endParaRPr>
          </a:p>
          <a:p>
            <a:r>
              <a:rPr lang="nl-NL" sz="1200" u="sng"/>
              <a:t>https://www.youtube.com/watch?v=2cKzez7XAdY&amp;t=2s</a:t>
            </a:r>
          </a:p>
          <a:p>
            <a:endParaRPr lang="nl-NL">
              <a:cs typeface="Calibri" panose="020F0502020204030204"/>
            </a:endParaRPr>
          </a:p>
          <a:p>
            <a:r>
              <a:rPr lang="nl-NL">
                <a:cs typeface="Calibri" panose="020F0502020204030204"/>
              </a:rPr>
              <a:t>Volgende dia: Essentie Proactieve zorgplann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endParaRPr lang="nl-NL">
              <a:cs typeface="Calibri"/>
            </a:endParaRPr>
          </a:p>
          <a:p>
            <a:pPr>
              <a:lnSpc>
                <a:spcPct val="110000"/>
              </a:lnSpc>
            </a:pPr>
            <a:r>
              <a:rPr lang="nl-NL" dirty="0">
                <a:cs typeface="Calibri"/>
              </a:rPr>
              <a:t>Inhoud: </a:t>
            </a:r>
            <a:endParaRPr lang="nl-NL" i="1" dirty="0">
              <a:ea typeface="Calibri"/>
              <a:cs typeface="Calibri"/>
            </a:endParaRPr>
          </a:p>
          <a:p>
            <a:pPr marL="0" indent="0" fontAlgn="base">
              <a:lnSpc>
                <a:spcPct val="150000"/>
              </a:lnSpc>
              <a:buFont typeface="Arial" panose="020B0604020202020204" pitchFamily="34" charset="0"/>
              <a:buNone/>
            </a:pPr>
            <a:r>
              <a:rPr lang="nl-NL" dirty="0">
                <a:cs typeface="Calibri"/>
              </a:rPr>
              <a:t>Om goede en passende medische zorg te bieden is het belangrijk tijdig te weten wat iemand wel of juist niet wil aan zorg. Door behandelwensen en -grenzen gezamenlijk te bespreken en vast te leggen kan hierop worden geanticipeerd. Zo kan de zorg afgestemd worden op </a:t>
            </a:r>
            <a:r>
              <a:rPr lang="nl-NL" b="1" dirty="0">
                <a:cs typeface="Calibri"/>
              </a:rPr>
              <a:t>persoonlijke wensen, waarden en behoeften</a:t>
            </a:r>
            <a:r>
              <a:rPr lang="nl-NL" dirty="0">
                <a:cs typeface="Calibri"/>
              </a:rPr>
              <a:t>. Deze proactieve zorgplanning – of ook wel ‘advance care planning’ - is van groot belang in stabiele, maar zeker ook in acute situaties. Voor elk individu, ongeacht de mate van kwetsbaarheid door ziekte, beperking of leeftijd.</a:t>
            </a:r>
            <a:endParaRPr lang="nl-NL" dirty="0">
              <a:ea typeface="Calibri"/>
              <a:cs typeface="Calibri"/>
            </a:endParaRPr>
          </a:p>
          <a:p>
            <a:pPr>
              <a:lnSpc>
                <a:spcPct val="110000"/>
              </a:lnSpc>
            </a:pPr>
            <a:endParaRPr lang="nl-NL">
              <a:cs typeface="Calibri"/>
            </a:endParaRPr>
          </a:p>
          <a:p>
            <a:pPr>
              <a:lnSpc>
                <a:spcPct val="110000"/>
              </a:lnSpc>
            </a:pPr>
            <a:r>
              <a:rPr lang="nl-NL" dirty="0">
                <a:cs typeface="Calibri"/>
              </a:rPr>
              <a:t>Geef met behulp van bovenstaande tekst aan wat proactieve zorgplanning in de palliatieve fase inhoudt. Licht ook de koppeling met het Kwaliteitskader toe. Begrijpt iedereen wat proactieve zorgplanning in de palliatieve fase inhoudt? </a:t>
            </a:r>
            <a:endParaRPr lang="nl-NL" dirty="0"/>
          </a:p>
          <a:p>
            <a:endParaRPr lang="nl-NL">
              <a:cs typeface="Calibri"/>
            </a:endParaRPr>
          </a:p>
          <a:p>
            <a:r>
              <a:rPr lang="nl-NL" dirty="0">
                <a:cs typeface="Calibri"/>
              </a:rPr>
              <a:t>Volgende dia: Kwaliteitskader</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palliaweb.nl/getmedia/1fc5d8d9-30c2-44c9-9bb4-d41b98c4e2fd/Rolbeschrijving-parkinson_nw.pdf"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hyperlink" Target="https://palliaweb.nl/meetinstrument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zorgpraktijk/meetinstrumenten-palliatieve-zorg"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hyperlink" Target="https://palliaweb.nl/overzichtspagina-hulpmiddelen?searchText=&amp;categoryids=663#submit-scroll-anchor"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proactieve-zorgplanning" TargetMode="External"/><Relationship Id="rId10" Type="http://schemas.openxmlformats.org/officeDocument/2006/relationships/hyperlink" Target="https://www.youtube.com/watch?v=2cKzez7XAdY"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3-palliapodcast-praten-over-de-toekomst"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Stichting PZNL is eigenaar van alle intellectuele eigendomsrechten op de PowerPointpresentaties als onderdeel van de docentenhandreiking workshop ‘In gesprek over het leven en het einde’, inclusief het daarop vermelde logo van Stichting PZNL. </a:t>
            </a:r>
            <a:r>
              <a:rPr lang="nl-NL" sz="1800" dirty="0"/>
              <a:t>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3343" y="5210113"/>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dirty="0"/>
              <a:t>Proactieve zorgplanning is een van de 8 essenties van het Kwaliteitskader </a:t>
            </a:r>
            <a:r>
              <a:rPr lang="nl-NL" dirty="0"/>
              <a:t>palliatieve</a:t>
            </a:r>
            <a:r>
              <a:rPr lang="nl-NL" sz="1800" dirty="0"/>
              <a:t> </a:t>
            </a:r>
            <a:r>
              <a:rPr lang="nl-NL" dirty="0"/>
              <a:t>zorg</a:t>
            </a:r>
            <a:r>
              <a:rPr lang="nl-NL" sz="1800" dirty="0"/>
              <a:t> Nederland:</a:t>
            </a:r>
          </a:p>
          <a:p>
            <a:pPr>
              <a:lnSpc>
                <a:spcPct val="150000"/>
              </a:lnSpc>
            </a:pPr>
            <a:endParaRPr lang="nl-NL"/>
          </a:p>
          <a:p>
            <a:pPr marL="450850" indent="-285750">
              <a:lnSpc>
                <a:spcPct val="150000"/>
              </a:lnSpc>
              <a:buFont typeface="Arial" panose="020B0604020202020204" pitchFamily="34" charset="0"/>
              <a:buChar char="•"/>
            </a:pPr>
            <a:r>
              <a:rPr lang="nl-NL" sz="1800" dirty="0"/>
              <a:t>Markering</a:t>
            </a:r>
            <a:endParaRPr lang="nl-NL" sz="1800">
              <a:cs typeface="Poppins"/>
            </a:endParaRPr>
          </a:p>
          <a:p>
            <a:pPr marL="450850" indent="-285750">
              <a:lnSpc>
                <a:spcPct val="150000"/>
              </a:lnSpc>
              <a:buFont typeface="Arial" panose="020B0604020202020204" pitchFamily="34" charset="0"/>
              <a:buChar char="•"/>
            </a:pPr>
            <a:r>
              <a:rPr lang="nl-NL" sz="1800" dirty="0"/>
              <a:t>Gezamenlijke besluitvorming</a:t>
            </a:r>
            <a:endParaRPr lang="nl-NL" sz="1800">
              <a:cs typeface="Poppins"/>
            </a:endParaRPr>
          </a:p>
          <a:p>
            <a:pPr marL="450850" indent="-285750">
              <a:lnSpc>
                <a:spcPct val="150000"/>
              </a:lnSpc>
              <a:buFont typeface="Arial" panose="020B0604020202020204" pitchFamily="34" charset="0"/>
              <a:buChar char="•"/>
            </a:pPr>
            <a:r>
              <a:rPr lang="nl-NL" sz="1800" b="1" dirty="0"/>
              <a:t>Proactieve zorgplanning</a:t>
            </a:r>
            <a:endParaRPr lang="nl-NL" sz="1800" b="1">
              <a:cs typeface="Poppins"/>
            </a:endParaRPr>
          </a:p>
          <a:p>
            <a:pPr marL="450850" indent="-285750">
              <a:lnSpc>
                <a:spcPct val="150000"/>
              </a:lnSpc>
              <a:buFont typeface="Arial" panose="020B0604020202020204" pitchFamily="34" charset="0"/>
              <a:buChar char="•"/>
            </a:pPr>
            <a:r>
              <a:rPr lang="nl-NL" dirty="0"/>
              <a:t>Individueel zorgplan</a:t>
            </a:r>
            <a:endParaRPr lang="nl-NL">
              <a:cs typeface="Poppins"/>
            </a:endParaRPr>
          </a:p>
          <a:p>
            <a:pPr marL="450850" indent="-285750">
              <a:lnSpc>
                <a:spcPct val="150000"/>
              </a:lnSpc>
              <a:buFont typeface="Arial" panose="020B0604020202020204" pitchFamily="34" charset="0"/>
              <a:buChar char="•"/>
            </a:pPr>
            <a:r>
              <a:rPr lang="nl-NL" sz="1800" dirty="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dirty="0"/>
              <a:t>Deskundigheid</a:t>
            </a:r>
            <a:r>
              <a:rPr lang="nl-NL" dirty="0"/>
              <a:t> </a:t>
            </a:r>
            <a:endParaRPr lang="nl-NL" sz="1800">
              <a:cs typeface="Poppins"/>
            </a:endParaRPr>
          </a:p>
          <a:p>
            <a:pPr marL="450850" indent="-285750">
              <a:lnSpc>
                <a:spcPct val="150000"/>
              </a:lnSpc>
              <a:buFont typeface="Arial" panose="020B0604020202020204" pitchFamily="34" charset="0"/>
              <a:buChar char="•"/>
            </a:pPr>
            <a:r>
              <a:rPr lang="nl-NL" sz="1800" dirty="0"/>
              <a:t>Effectieve communicatie</a:t>
            </a:r>
            <a:endParaRPr lang="nl-NL" sz="1800">
              <a:cs typeface="Poppins"/>
            </a:endParaRPr>
          </a:p>
          <a:p>
            <a:pPr marL="450850" indent="-285750">
              <a:lnSpc>
                <a:spcPct val="150000"/>
              </a:lnSpc>
              <a:buFont typeface="Arial" panose="020B0604020202020204" pitchFamily="34" charset="0"/>
              <a:buChar char="•"/>
            </a:pPr>
            <a:r>
              <a:rPr lang="nl-NL" dirty="0"/>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 - Casus I</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2121531"/>
            <a:ext cx="10941049" cy="424492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2000">
                <a:cs typeface="Poppins"/>
                <a:hlinkClick r:id="rId3"/>
              </a:rPr>
              <a:t>Casus ‘Proactieve zorgplanning bij een patiënt met Parkinson’ - voor WO studenten</a:t>
            </a:r>
            <a:endParaRPr lang="nl-NL" sz="1600">
              <a:cs typeface="Poppins"/>
            </a:endParaRPr>
          </a:p>
        </p:txBody>
      </p:sp>
    </p:spTree>
    <p:extLst>
      <p:ext uri="{BB962C8B-B14F-4D97-AF65-F5344CB8AC3E}">
        <p14:creationId xmlns:p14="http://schemas.microsoft.com/office/powerpoint/2010/main" val="1329402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poster, handschrift&#10;&#10;Automatisch gegenereerde beschrijving">
            <a:extLst>
              <a:ext uri="{FF2B5EF4-FFF2-40B4-BE49-F238E27FC236}">
                <a16:creationId xmlns:a16="http://schemas.microsoft.com/office/drawing/2014/main" id="{64068050-5F98-BF41-1B0C-E7B37DD8138C}"/>
              </a:ext>
            </a:extLst>
          </p:cNvPr>
          <p:cNvPicPr>
            <a:picLocks noChangeAspect="1"/>
          </p:cNvPicPr>
          <p:nvPr/>
        </p:nvPicPr>
        <p:blipFill>
          <a:blip r:embed="rId3"/>
          <a:stretch>
            <a:fillRect/>
          </a:stretch>
        </p:blipFill>
        <p:spPr>
          <a:xfrm>
            <a:off x="6742710" y="571127"/>
            <a:ext cx="4238625" cy="5676900"/>
          </a:xfrm>
          <a:prstGeom prst="rect">
            <a:avLst/>
          </a:prstGeom>
        </p:spPr>
      </p:pic>
    </p:spTree>
    <p:extLst>
      <p:ext uri="{BB962C8B-B14F-4D97-AF65-F5344CB8AC3E}">
        <p14:creationId xmlns:p14="http://schemas.microsoft.com/office/powerpoint/2010/main" val="3113140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530225"/>
            <a:ext cx="10801350" cy="449251"/>
          </a:xfrm>
        </p:spPr>
        <p:txBody>
          <a:bodyPr/>
          <a:lstStyle/>
          <a:p>
            <a:r>
              <a:rPr lang="nl-NL" sz="3200"/>
              <a:t>Aan de slag - Casus II</a:t>
            </a:r>
            <a:endParaRPr lang="nl-NL" sz="32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38146"/>
            <a:ext cx="6677256" cy="471696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00000"/>
              </a:lnSpc>
              <a:buNone/>
            </a:pPr>
            <a:r>
              <a:rPr lang="nl-NL" sz="1400" i="1" dirty="0">
                <a:cs typeface="Poppins"/>
              </a:rPr>
              <a:t>Casus op basis van een korte samenvatting uit het boek: </a:t>
            </a:r>
            <a:br>
              <a:rPr lang="nl-NL" sz="1400" i="1" dirty="0">
                <a:cs typeface="Poppins"/>
              </a:rPr>
            </a:br>
            <a:r>
              <a:rPr lang="nl-NL" sz="1400" i="1" dirty="0">
                <a:cs typeface="Poppins"/>
              </a:rPr>
              <a:t>‘In gesprek over het leven en het einde’ hoofdstuk 3 – door Carolien Burghout:</a:t>
            </a:r>
            <a:endParaRPr lang="nl-NL" sz="1400" dirty="0">
              <a:cs typeface="Poppins"/>
            </a:endParaRPr>
          </a:p>
          <a:p>
            <a:pPr marL="0" indent="0">
              <a:lnSpc>
                <a:spcPct val="100000"/>
              </a:lnSpc>
              <a:buNone/>
            </a:pPr>
            <a:endParaRPr lang="nl-NL" sz="1600" dirty="0">
              <a:cs typeface="Poppins"/>
            </a:endParaRPr>
          </a:p>
          <a:p>
            <a:pPr marL="0" indent="0">
              <a:lnSpc>
                <a:spcPct val="100000"/>
              </a:lnSpc>
              <a:buNone/>
            </a:pPr>
            <a:r>
              <a:rPr lang="nl-NL" sz="1600" dirty="0">
                <a:cs typeface="Poppins"/>
              </a:rPr>
              <a:t>Meneer Van der Valk leeft al een aantal jaren met een ziekte waarbij het beenmerg de bloedcellen niet goed kan aanmaken. Na een relatief rustige periode neemt de productie van bloedcellen verder af en bespreekt de arts de mogelijkheden: chemotherapie of ondersteunende behandeling. Meneer pakt de mogelijkheid van chemotherapie met beide handen aan. </a:t>
            </a:r>
          </a:p>
          <a:p>
            <a:pPr marL="0" indent="0">
              <a:lnSpc>
                <a:spcPct val="100000"/>
              </a:lnSpc>
              <a:buNone/>
            </a:pPr>
            <a:endParaRPr lang="nl-NL" dirty="0"/>
          </a:p>
          <a:p>
            <a:pPr marL="0" indent="0">
              <a:lnSpc>
                <a:spcPct val="100000"/>
              </a:lnSpc>
              <a:buNone/>
            </a:pPr>
            <a:r>
              <a:rPr lang="nl-NL" sz="1600" dirty="0">
                <a:cs typeface="Poppins"/>
              </a:rPr>
              <a:t>Wanneer de verpleegkundig specialist voorlichting geeft over de voorgestelde behandeling, benoemt zij de mogelijkheid van ondersteunende zorg. Meneer leeft in het hier en nu en voor nadenken over de toekomst is (nog) geen ruimte. Dit wordt vastgelegd in het proactieve zorgplan. </a:t>
            </a:r>
          </a:p>
          <a:p>
            <a:pPr marL="0" indent="0">
              <a:lnSpc>
                <a:spcPct val="100000"/>
              </a:lnSpc>
              <a:buNone/>
            </a:pPr>
            <a:endParaRPr lang="nl-NL" sz="1600" dirty="0">
              <a:cs typeface="Poppins"/>
            </a:endParaRPr>
          </a:p>
          <a:p>
            <a:pPr marL="0" indent="0">
              <a:lnSpc>
                <a:spcPct val="100000"/>
              </a:lnSpc>
              <a:buNone/>
            </a:pPr>
            <a:r>
              <a:rPr lang="nl-NL" sz="1400" i="1" dirty="0">
                <a:cs typeface="Poppins"/>
              </a:rPr>
              <a:t>De casus gaat verder op de volgende dia</a:t>
            </a:r>
          </a:p>
          <a:p>
            <a:pPr marL="0" indent="0">
              <a:lnSpc>
                <a:spcPct val="100000"/>
              </a:lnSpc>
              <a:buNone/>
            </a:pPr>
            <a:r>
              <a:rPr lang="nl-NL" sz="1400" dirty="0">
                <a:cs typeface="Poppins"/>
              </a:rPr>
              <a:t>*Oskam et al., 2023</a:t>
            </a:r>
          </a:p>
          <a:p>
            <a:pPr marL="0" indent="0">
              <a:lnSpc>
                <a:spcPct val="120000"/>
              </a:lnSpc>
              <a:spcAft>
                <a:spcPts val="1200"/>
              </a:spcAft>
              <a:buNone/>
            </a:pPr>
            <a:endParaRPr lang="nl-NL" sz="1200" i="1" dirty="0">
              <a:cs typeface="Poppins"/>
            </a:endParaRPr>
          </a:p>
        </p:txBody>
      </p:sp>
      <p:pic>
        <p:nvPicPr>
          <p:cNvPr id="3" name="Afbeelding 2" descr="Afbeelding met schets, kunst, Menselijk gezicht, verven&#10;&#10;Automatisch gegenereerde beschrijving">
            <a:extLst>
              <a:ext uri="{FF2B5EF4-FFF2-40B4-BE49-F238E27FC236}">
                <a16:creationId xmlns:a16="http://schemas.microsoft.com/office/drawing/2014/main" id="{6516E1D8-CB47-5DDC-75A0-D9BAE8F196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9496" y="626148"/>
            <a:ext cx="3967178" cy="5614914"/>
          </a:xfrm>
          <a:prstGeom prst="rect">
            <a:avLst/>
          </a:prstGeom>
        </p:spPr>
      </p:pic>
    </p:spTree>
    <p:extLst>
      <p:ext uri="{BB962C8B-B14F-4D97-AF65-F5344CB8AC3E}">
        <p14:creationId xmlns:p14="http://schemas.microsoft.com/office/powerpoint/2010/main" val="2735599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92D02-12CC-5839-13CD-9EE52B543B42}"/>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1942FDBF-E52B-9ACE-22F0-E5C255CB22D6}"/>
              </a:ext>
            </a:extLst>
          </p:cNvPr>
          <p:cNvSpPr>
            <a:spLocks noGrp="1"/>
          </p:cNvSpPr>
          <p:nvPr>
            <p:ph type="title"/>
          </p:nvPr>
        </p:nvSpPr>
        <p:spPr>
          <a:xfrm>
            <a:off x="704851" y="530225"/>
            <a:ext cx="10801350" cy="449251"/>
          </a:xfrm>
        </p:spPr>
        <p:txBody>
          <a:bodyPr/>
          <a:lstStyle/>
          <a:p>
            <a:r>
              <a:rPr lang="nl-NL" sz="3200"/>
              <a:t>Aan de slag - Casus II</a:t>
            </a:r>
            <a:endParaRPr lang="nl-NL" sz="3200">
              <a:cs typeface="Poppins"/>
            </a:endParaRPr>
          </a:p>
        </p:txBody>
      </p:sp>
      <p:sp>
        <p:nvSpPr>
          <p:cNvPr id="6" name="Tijdelijke aanduiding voor dianummer 5">
            <a:extLst>
              <a:ext uri="{FF2B5EF4-FFF2-40B4-BE49-F238E27FC236}">
                <a16:creationId xmlns:a16="http://schemas.microsoft.com/office/drawing/2014/main" id="{612B06E3-29D1-A0FF-751E-703793721566}"/>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C8251C4D-2362-4E59-615B-63EF2093E08F}"/>
              </a:ext>
            </a:extLst>
          </p:cNvPr>
          <p:cNvSpPr txBox="1">
            <a:spLocks/>
          </p:cNvSpPr>
          <p:nvPr/>
        </p:nvSpPr>
        <p:spPr>
          <a:xfrm>
            <a:off x="704851" y="1248937"/>
            <a:ext cx="10941049" cy="541082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t>Vervolg van casus: </a:t>
            </a:r>
            <a:endParaRPr lang="nl-NL" sz="1400" dirty="0">
              <a:cs typeface="Poppins"/>
            </a:endParaRPr>
          </a:p>
          <a:p>
            <a:pPr marL="0" indent="0">
              <a:lnSpc>
                <a:spcPct val="120000"/>
              </a:lnSpc>
              <a:spcAft>
                <a:spcPts val="1200"/>
              </a:spcAft>
              <a:buNone/>
            </a:pPr>
            <a:r>
              <a:rPr lang="nl-NL" sz="1600" dirty="0">
                <a:cs typeface="Poppins"/>
              </a:rPr>
              <a:t>De behandeling met chemotherapie wordt gestart en de ziekte wordt bijna 2 jaar onder controle gehouden. Na 2 jaar is er opnieuw een kruispunt: opnieuw behandeling met nu minimale kans op effect of kiezen voor ondersteunende zorg.  </a:t>
            </a:r>
          </a:p>
          <a:p>
            <a:pPr marL="0" indent="0">
              <a:lnSpc>
                <a:spcPct val="120000"/>
              </a:lnSpc>
              <a:spcAft>
                <a:spcPts val="1200"/>
              </a:spcAft>
              <a:buNone/>
            </a:pPr>
            <a:r>
              <a:rPr lang="nl-NL" sz="1600" dirty="0">
                <a:cs typeface="Poppins"/>
              </a:rPr>
              <a:t>Opnieuw kiest meneer weloverwogen voor behandeling. ‘Ik kan nog niet dood gaan.’ Hoewel het praten over het levenseinde moeilijk is, realiseer je je ook wel dat het sterven dichterbij komt. Gedurende de behandeling vraagt de verpleegkundig specialist een aantal keren naar de zorg die meneer aan zijn dementerende vrouw geeft. Voorzichtig ontstaan er kleine openingen waarin hij zijn zorgen deelt. Meneer legt contact met de thuiszorg en onderneemt stappen om te verhuizen naar een woning waar de zorg voor handen is. Op de nieuwe stek is niet alleen zorg voor zijn vrouw, maar ook voor hemzelf in de toekomst.</a:t>
            </a:r>
            <a:endParaRPr lang="nl-NL" sz="1600" dirty="0"/>
          </a:p>
          <a:p>
            <a:pPr marL="0" indent="0">
              <a:lnSpc>
                <a:spcPct val="120000"/>
              </a:lnSpc>
              <a:spcAft>
                <a:spcPts val="1200"/>
              </a:spcAft>
              <a:buNone/>
            </a:pPr>
            <a:endParaRPr lang="nl-NL" sz="1600" dirty="0">
              <a:cs typeface="Poppins"/>
            </a:endParaRPr>
          </a:p>
        </p:txBody>
      </p:sp>
    </p:spTree>
    <p:extLst>
      <p:ext uri="{BB962C8B-B14F-4D97-AF65-F5344CB8AC3E}">
        <p14:creationId xmlns:p14="http://schemas.microsoft.com/office/powerpoint/2010/main" val="205972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dirty="0"/>
              <a:t>Bespreken in groepjes van 3 à 4 personen: </a:t>
            </a:r>
          </a:p>
          <a:p>
            <a:pPr marL="0" indent="0">
              <a:spcAft>
                <a:spcPts val="1200"/>
              </a:spcAft>
              <a:buNone/>
            </a:pPr>
            <a:r>
              <a:rPr lang="nl-NL" sz="1800" dirty="0"/>
              <a:t>Carolien Burghout beschrijft in het boek een casus over meneer Van der Valk:</a:t>
            </a:r>
            <a:endParaRPr lang="nl-NL" sz="1800" dirty="0">
              <a:cs typeface="Poppins"/>
            </a:endParaRPr>
          </a:p>
          <a:p>
            <a:pPr marL="0" indent="0">
              <a:spcAft>
                <a:spcPts val="1200"/>
              </a:spcAft>
              <a:buNone/>
            </a:pPr>
            <a:endParaRPr lang="nl-NL" sz="1800">
              <a:cs typeface="Poppins"/>
            </a:endParaRPr>
          </a:p>
          <a:p>
            <a:pPr marL="342900" indent="-342900">
              <a:spcAft>
                <a:spcPts val="1200"/>
              </a:spcAft>
              <a:buAutoNum type="alphaLcParenR"/>
            </a:pPr>
            <a:r>
              <a:rPr lang="nl-NL" sz="1800" dirty="0"/>
              <a:t>Welke meerwaarde heeft proactieve zorgplanning voor meneer Van der Valk?</a:t>
            </a:r>
            <a:endParaRPr lang="nl-NL" sz="1800" dirty="0">
              <a:cs typeface="Poppins"/>
            </a:endParaRPr>
          </a:p>
          <a:p>
            <a:pPr marL="342900" indent="-342900">
              <a:spcAft>
                <a:spcPts val="1200"/>
              </a:spcAft>
              <a:buAutoNum type="alphaLcParenR"/>
            </a:pPr>
            <a:r>
              <a:rPr lang="nl-NL" sz="1800" dirty="0"/>
              <a:t>En wat kan proactieve zorgplanning jou als zorgverlener opleveren?</a:t>
            </a:r>
            <a:endParaRPr lang="nl-NL" sz="1800" dirty="0">
              <a:cs typeface="Poppins"/>
            </a:endParaRPr>
          </a:p>
          <a:p>
            <a:pPr marL="342900" indent="-342900">
              <a:spcAft>
                <a:spcPts val="1200"/>
              </a:spcAft>
              <a:buAutoNum type="alphaLcParenR"/>
            </a:pPr>
            <a:r>
              <a:rPr lang="nl-NL" sz="1800" dirty="0"/>
              <a:t>Hoe zou je als zorgverlener bij meneer Van der Valk en zijn vrouw een zorgplan opstellen?</a:t>
            </a:r>
            <a:endParaRPr lang="nl-NL" sz="1800" dirty="0">
              <a:cs typeface="Poppins"/>
            </a:endParaRPr>
          </a:p>
          <a:p>
            <a:pPr marL="342900" indent="-342900">
              <a:spcAft>
                <a:spcPts val="1200"/>
              </a:spcAft>
              <a:buAutoNum type="alphaLcParenR"/>
            </a:pPr>
            <a:r>
              <a:rPr lang="nl-NL" sz="1800" dirty="0"/>
              <a:t>Verschilt dit met een situatie waarbij er geen partner is die ook zorg ontvangt? </a:t>
            </a:r>
            <a:endParaRPr lang="nl-NL" sz="1800" dirty="0">
              <a:cs typeface="Poppins"/>
            </a:endParaRPr>
          </a:p>
          <a:p>
            <a:pPr marL="342900" indent="-342900">
              <a:spcAft>
                <a:spcPts val="1200"/>
              </a:spcAft>
              <a:buAutoNum type="alphaLcParenR"/>
            </a:pPr>
            <a:r>
              <a:rPr lang="nl-NL" sz="1800" dirty="0">
                <a:cs typeface="Poppins"/>
              </a:rPr>
              <a:t>Wat doe je als een gesprek over proactieve zorgplanning met de patiënt en naasten niet lukt of niet goed wordt ontvangen?</a:t>
            </a:r>
          </a:p>
          <a:p>
            <a:pPr marL="342900" indent="-342900">
              <a:spcAft>
                <a:spcPts val="1200"/>
              </a:spcAft>
              <a:buAutoNum type="alphaLcParenR"/>
            </a:pPr>
            <a:r>
              <a:rPr lang="nl-NL" sz="1800" dirty="0"/>
              <a:t>Hoe zorg je ervoor dat andere betrokken zorgverleners op de hoogte zijn van proactieve zorgplanningsgesprekken en hoe werk je daarin samen binnen verschillende zorgsettingen? Hoe houd je het (proactieve)zorgplan actueel?</a:t>
            </a:r>
            <a:endParaRPr lang="nl-NL" dirty="0">
              <a:cs typeface="Poppins"/>
            </a:endParaRPr>
          </a:p>
          <a:p>
            <a:pPr marL="0" indent="0">
              <a:spcAft>
                <a:spcPts val="1200"/>
              </a:spcAft>
              <a:buNone/>
            </a:pPr>
            <a:endParaRPr lang="nl-NL" sz="1800"/>
          </a:p>
        </p:txBody>
      </p:sp>
    </p:spTree>
    <p:extLst>
      <p:ext uri="{BB962C8B-B14F-4D97-AF65-F5344CB8AC3E}">
        <p14:creationId xmlns:p14="http://schemas.microsoft.com/office/powerpoint/2010/main" val="472608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EC546C-B168-F1DD-A74A-F607AC89CCD1}"/>
              </a:ext>
            </a:extLst>
          </p:cNvPr>
          <p:cNvSpPr>
            <a:spLocks noGrp="1"/>
          </p:cNvSpPr>
          <p:nvPr>
            <p:ph type="title"/>
          </p:nvPr>
        </p:nvSpPr>
        <p:spPr/>
        <p:txBody>
          <a:bodyPr/>
          <a:lstStyle/>
          <a:p>
            <a:r>
              <a:rPr lang="nl-NL" sz="3200"/>
              <a:t>Reflecteren op eigen handelen - Casus III</a:t>
            </a:r>
            <a:endParaRPr lang="nl-NL"/>
          </a:p>
        </p:txBody>
      </p:sp>
      <p:sp>
        <p:nvSpPr>
          <p:cNvPr id="3" name="Tijdelijke aanduiding voor inhoud 2">
            <a:extLst>
              <a:ext uri="{FF2B5EF4-FFF2-40B4-BE49-F238E27FC236}">
                <a16:creationId xmlns:a16="http://schemas.microsoft.com/office/drawing/2014/main" id="{75D48A8E-5912-3EBA-8A96-ADB9A465DF1F}"/>
              </a:ext>
            </a:extLst>
          </p:cNvPr>
          <p:cNvSpPr>
            <a:spLocks noGrp="1"/>
          </p:cNvSpPr>
          <p:nvPr>
            <p:ph idx="1"/>
          </p:nvPr>
        </p:nvSpPr>
        <p:spPr>
          <a:xfrm>
            <a:off x="704851" y="1277937"/>
            <a:ext cx="10800000" cy="5292679"/>
          </a:xfrm>
        </p:spPr>
        <p:txBody>
          <a:bodyPr vert="horz" lIns="0" tIns="0" rIns="0" bIns="0" rtlCol="0" anchor="t">
            <a:noAutofit/>
          </a:bodyPr>
          <a:lstStyle/>
          <a:p>
            <a:pPr marL="0" indent="0">
              <a:lnSpc>
                <a:spcPct val="120000"/>
              </a:lnSpc>
              <a:spcAft>
                <a:spcPts val="1200"/>
              </a:spcAft>
              <a:buNone/>
            </a:pPr>
            <a:r>
              <a:rPr lang="nl-NL" sz="1400" i="1" dirty="0">
                <a:cs typeface="Poppins"/>
              </a:rPr>
              <a:t>Casus op basis van een korte samenvatting uit het boek: </a:t>
            </a:r>
            <a:br>
              <a:rPr lang="nl-NL" sz="1400" i="1" dirty="0">
                <a:cs typeface="Poppins"/>
              </a:rPr>
            </a:br>
            <a:r>
              <a:rPr lang="nl-NL" sz="1400" i="1" dirty="0">
                <a:cs typeface="Poppins"/>
              </a:rPr>
              <a:t>‘In gesprek over het leven en het einde’ (Oskam et al., 2023), hoofdstuk 3 – door Jeroen Zijlstra:</a:t>
            </a:r>
            <a:endParaRPr lang="nl-NL" sz="1400" dirty="0">
              <a:cs typeface="Poppins"/>
            </a:endParaRPr>
          </a:p>
          <a:p>
            <a:pPr marL="0" indent="0">
              <a:lnSpc>
                <a:spcPct val="120000"/>
              </a:lnSpc>
              <a:spcAft>
                <a:spcPts val="1200"/>
              </a:spcAft>
              <a:buNone/>
            </a:pPr>
            <a:r>
              <a:rPr lang="nl-NL" sz="1600" dirty="0">
                <a:cs typeface="Poppins"/>
              </a:rPr>
              <a:t>Jeroen woonde twaalf jaar met zijn schoonouders in een zogeheten "kangoeroewoning" in Drenthe. Dit kwam tot stand toen hij en zijn vrouw Irene voorstelden om met haar ouders samen te gaan wonen, zodat zij vanwege hun gezondheidsproblemen dichtbij hun kleindochter konden zijn. De gedeelde woonruimte bood steun, vooral toen zijn schoonvader in een rolstoel belandde. </a:t>
            </a:r>
          </a:p>
          <a:p>
            <a:pPr marL="0" indent="0">
              <a:lnSpc>
                <a:spcPct val="120000"/>
              </a:lnSpc>
              <a:spcAft>
                <a:spcPts val="1200"/>
              </a:spcAft>
              <a:buNone/>
            </a:pPr>
            <a:r>
              <a:rPr lang="nl-NL" sz="1600" dirty="0">
                <a:cs typeface="Poppins"/>
              </a:rPr>
              <a:t>Echter, proactieve zorgplanning ontbrak grotendeels. De wijkverpleegkundige speelde een positieve rol door Leonie aan te moedigen actiever te zijn, maar dit gebeurde meer reactief dan proactief. Thuiszorg werd geregeld voor Leonie, maar duidelijke communicatie en planning ontbraken, wat zorgde voor onzekerheid over haar verdere achteruitgang. </a:t>
            </a:r>
            <a:r>
              <a:rPr lang="nl-NL" sz="1600" dirty="0" err="1">
                <a:cs typeface="Poppins"/>
              </a:rPr>
              <a:t>Leonie's</a:t>
            </a:r>
            <a:r>
              <a:rPr lang="nl-NL" sz="1600" dirty="0">
                <a:cs typeface="Poppins"/>
              </a:rPr>
              <a:t> huisarts had een goede band met haar, respecteerde haar antroposofische levenswijze, maar was vaak niet beschikbaar voor belangrijke zorggesprekken. De familie miste daardoor de nodige begeleiding en advies voor toekomstige zorgplanning. Uiteindelijk moesten Jeroen en Irene veel zelf regelen zonder de steun van een gecoördineerd zorgplan. Na </a:t>
            </a:r>
            <a:r>
              <a:rPr lang="nl-NL" sz="1600" dirty="0" err="1">
                <a:cs typeface="Poppins"/>
              </a:rPr>
              <a:t>Leonie's</a:t>
            </a:r>
            <a:r>
              <a:rPr lang="nl-NL" sz="1600" dirty="0">
                <a:cs typeface="Poppins"/>
              </a:rPr>
              <a:t> overlijden beseften ze dat meer proactieve zorgplanning noodzakelijk was geweest om haar gedurende de laatste jaren beter te ondersteunen.</a:t>
            </a:r>
          </a:p>
          <a:p>
            <a:pPr marL="0" indent="0">
              <a:lnSpc>
                <a:spcPct val="120000"/>
              </a:lnSpc>
              <a:spcAft>
                <a:spcPts val="1200"/>
              </a:spcAft>
              <a:buNone/>
            </a:pPr>
            <a:endParaRPr lang="nl-NL">
              <a:cs typeface="Poppins"/>
            </a:endParaRPr>
          </a:p>
        </p:txBody>
      </p:sp>
      <p:sp>
        <p:nvSpPr>
          <p:cNvPr id="4" name="Tijdelijke aanduiding voor dianummer 3">
            <a:extLst>
              <a:ext uri="{FF2B5EF4-FFF2-40B4-BE49-F238E27FC236}">
                <a16:creationId xmlns:a16="http://schemas.microsoft.com/office/drawing/2014/main" id="{9D611907-A5E7-D963-FD8B-E67EB3519195}"/>
              </a:ext>
            </a:extLst>
          </p:cNvPr>
          <p:cNvSpPr>
            <a:spLocks noGrp="1"/>
          </p:cNvSpPr>
          <p:nvPr>
            <p:ph type="sldNum" sz="quarter" idx="12"/>
          </p:nvPr>
        </p:nvSpPr>
        <p:spPr/>
        <p:txBody>
          <a:bodyPr/>
          <a:lstStyle/>
          <a:p>
            <a:fld id="{5EAD46FD-55B7-4B35-9571-DF03CD73F6D9}" type="slidenum">
              <a:rPr lang="nl-NL" smtClean="0"/>
              <a:t>17</a:t>
            </a:fld>
            <a:endParaRPr lang="nl-NL"/>
          </a:p>
        </p:txBody>
      </p:sp>
    </p:spTree>
    <p:extLst>
      <p:ext uri="{BB962C8B-B14F-4D97-AF65-F5344CB8AC3E}">
        <p14:creationId xmlns:p14="http://schemas.microsoft.com/office/powerpoint/2010/main" val="4093672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r>
              <a:rPr lang="nl-NL" sz="1800" dirty="0"/>
              <a:t>Voorbeeld reflectievragen:</a:t>
            </a:r>
          </a:p>
          <a:p>
            <a:pPr marL="0" indent="0" fontAlgn="base">
              <a:spcAft>
                <a:spcPts val="600"/>
              </a:spcAft>
              <a:buNone/>
              <a:tabLst>
                <a:tab pos="341630" algn="l"/>
                <a:tab pos="449580" algn="l"/>
              </a:tabLst>
            </a:pPr>
            <a:endParaRPr lang="nl-NL" sz="1800" dirty="0"/>
          </a:p>
          <a:p>
            <a:pPr marL="0" indent="0" fontAlgn="base">
              <a:spcAft>
                <a:spcPts val="600"/>
              </a:spcAft>
              <a:buNone/>
            </a:pPr>
            <a:r>
              <a:rPr lang="nl-NL" sz="1800" dirty="0"/>
              <a:t>Stel je de situatie voor die zich bij de casus van Jeroen afspeelde. </a:t>
            </a:r>
            <a:endParaRPr lang="nl-NL" sz="1800" dirty="0">
              <a:cs typeface="Poppins"/>
            </a:endParaRPr>
          </a:p>
          <a:p>
            <a:pPr marL="342900" indent="-342900" fontAlgn="base">
              <a:spcAft>
                <a:spcPts val="600"/>
              </a:spcAft>
              <a:buFont typeface="+mj-lt"/>
              <a:buAutoNum type="arabicPeriod"/>
            </a:pPr>
            <a:r>
              <a:rPr lang="nl-NL" sz="1800" dirty="0"/>
              <a:t>Hoe zou jij als zorgverlener hebben gehandeld in de situatie die zich bij Jeroen afspeelde? </a:t>
            </a:r>
            <a:endParaRPr lang="nl-NL" sz="1800" dirty="0">
              <a:cs typeface="Poppins"/>
            </a:endParaRPr>
          </a:p>
          <a:p>
            <a:pPr marL="342900" indent="-342900" fontAlgn="base">
              <a:spcAft>
                <a:spcPts val="600"/>
              </a:spcAft>
              <a:buFont typeface="+mj-lt"/>
              <a:buAutoNum type="arabicPeriod"/>
            </a:pPr>
            <a:r>
              <a:rPr lang="nl-NL" sz="1800" dirty="0"/>
              <a:t>Op welk moment in het ziekteproces was je met proactieve zorgplanning (vooruit denken, plannen en organiseren) gestart? </a:t>
            </a:r>
            <a:endParaRPr lang="nl-NL" sz="1800" dirty="0">
              <a:cs typeface="Poppins"/>
            </a:endParaRPr>
          </a:p>
          <a:p>
            <a:pPr marL="342900" indent="-342900" fontAlgn="base">
              <a:spcAft>
                <a:spcPts val="600"/>
              </a:spcAft>
              <a:buFont typeface="+mj-lt"/>
              <a:buAutoNum type="arabicPeriod"/>
            </a:pPr>
            <a:r>
              <a:rPr lang="nl-NL" sz="1800" dirty="0"/>
              <a:t>Had jij het anders aangepakt in de laatste fase en zo ja, wat had je anders gedaan?</a:t>
            </a:r>
            <a:endParaRPr lang="nl-NL" sz="1800" dirty="0">
              <a:cs typeface="Poppins"/>
            </a:endParaRPr>
          </a:p>
          <a:p>
            <a:pPr marL="342900" indent="-342900" fontAlgn="base">
              <a:spcAft>
                <a:spcPts val="600"/>
              </a:spcAft>
              <a:buFont typeface="+mj-lt"/>
              <a:buAutoNum type="arabicPeriod"/>
            </a:pPr>
            <a:r>
              <a:rPr lang="nl-NL" sz="1800" dirty="0"/>
              <a:t>Wat zijn jouw persoonlijke ervaringen: wat vind jij moeilijk aan proactieve zorgplanning, waar loop je tegenaan? Wat kan jou hierbij helpen?</a:t>
            </a:r>
            <a:endParaRPr lang="nl-NL" sz="1800" dirty="0">
              <a:cs typeface="Poppins"/>
            </a:endParaRPr>
          </a:p>
          <a:p>
            <a:pPr marL="287655" indent="-287655" fontAlgn="base">
              <a:spcAft>
                <a:spcPts val="600"/>
              </a:spcAft>
            </a:pPr>
            <a:endParaRPr lang="nl-NL" sz="1800" dirty="0">
              <a:cs typeface="Poppins"/>
            </a:endParaRPr>
          </a:p>
          <a:p>
            <a:pPr marL="0" lvl="0" indent="0" fontAlgn="base">
              <a:spcAft>
                <a:spcPts val="600"/>
              </a:spcAft>
              <a:buNone/>
            </a:pPr>
            <a:endParaRPr lang="nl-NL" sz="1800" dirty="0">
              <a:highlight>
                <a:srgbClr val="FFFF00"/>
              </a:highlight>
            </a:endParaRPr>
          </a:p>
        </p:txBody>
      </p:sp>
    </p:spTree>
    <p:extLst>
      <p:ext uri="{BB962C8B-B14F-4D97-AF65-F5344CB8AC3E}">
        <p14:creationId xmlns:p14="http://schemas.microsoft.com/office/powerpoint/2010/main" val="3748225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4096067"/>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Praten over de toekomst'</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667B49DA-806A-CAC3-7D72-3AA3724891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348343"/>
            <a:ext cx="4620986" cy="3080657"/>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proactieve zorgplanning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6"/>
              </a:rPr>
              <a:t>Hulpmiddelen Proactieve zorgplanning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7"/>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8"/>
              </a:rPr>
              <a:t>Meetinstrumenten - overzicht [Palliaweb]</a:t>
            </a:r>
            <a:r>
              <a:rPr lang="nl-NL" sz="1600">
                <a:cs typeface="Poppins"/>
              </a:rPr>
              <a:t> </a:t>
            </a:r>
            <a:endParaRPr lang="nl-NL"/>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3 - Palliapodcast | Praten over de toekomst</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Proactieve zorgplann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p:txBody>
      </p:sp>
    </p:spTree>
    <p:extLst>
      <p:ext uri="{BB962C8B-B14F-4D97-AF65-F5344CB8AC3E}">
        <p14:creationId xmlns:p14="http://schemas.microsoft.com/office/powerpoint/2010/main" val="1887405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1</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Proactieve zorgplanning</a:t>
            </a:r>
            <a:endParaRPr lang="nl-NL" sz="1800" b="1">
              <a:cs typeface="Poppins"/>
            </a:endParaRPr>
          </a:p>
          <a:p>
            <a:pPr marL="575945" lvl="1" indent="-287655">
              <a:spcBef>
                <a:spcPts val="600"/>
              </a:spcBef>
            </a:pPr>
            <a:r>
              <a:rPr lang="nl-NL" sz="1800"/>
              <a:t>Wat is proactieve zorgplanning?</a:t>
            </a:r>
            <a:endParaRPr lang="nl-NL" sz="1800">
              <a:cs typeface="Poppins"/>
            </a:endParaRPr>
          </a:p>
          <a:p>
            <a:pPr marL="575945" lvl="1" indent="-287655">
              <a:spcBef>
                <a:spcPts val="600"/>
              </a:spcBef>
            </a:pPr>
            <a:r>
              <a:rPr lang="nl-NL" sz="1800"/>
              <a:t>Welke hulpmiddelen zijn er voor proactieve zorgplann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0" y="1593849"/>
            <a:ext cx="11182350" cy="3416320"/>
          </a:xfrm>
          <a:prstGeom prst="rect">
            <a:avLst/>
          </a:prstGeom>
          <a:noFill/>
        </p:spPr>
        <p:txBody>
          <a:bodyPr wrap="square" lIns="91440" tIns="45720" rIns="91440" bIns="45720" anchor="t">
            <a:spAutoFit/>
          </a:bodyPr>
          <a:lstStyle/>
          <a:p>
            <a:r>
              <a:rPr lang="nl-NL">
                <a:cs typeface="Poppins"/>
              </a:rPr>
              <a:t>De deelnemer: </a:t>
            </a:r>
          </a:p>
          <a:p>
            <a:endParaRPr lang="nl-NL">
              <a:cs typeface="Poppins"/>
            </a:endParaRPr>
          </a:p>
          <a:p>
            <a:pPr marL="285750" indent="-285750">
              <a:buFont typeface="Arial" panose="020B0604020202020204" pitchFamily="34" charset="0"/>
              <a:buChar char="•"/>
            </a:pPr>
            <a:r>
              <a:rPr lang="nl-NL">
                <a:cs typeface="Poppins"/>
              </a:rPr>
              <a:t>wordt gestimuleerd om proactieve zorgplanning te starten en stelt daarbij de juiste vragen om waarden, wensen en behoeften van de patiënt en diens naasten te achterhal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wordt aangezet om vooruit te denken, plannen en organiseren in overleg met de patiënt en naast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meer bewust van het gebruikmaken van gezamenlijke besluitvorming en proactieve zorgplanning om met patiënt en naasten te komen tot passend beleid;</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in staat te reflecteren op ervaringen vanuit de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00000"/>
              </a:lnSpc>
              <a:buFont typeface="Arial" panose="020B0604020202020204" pitchFamily="34" charset="0"/>
              <a:buNone/>
            </a:pPr>
            <a:endParaRPr lang="nl-NL" sz="1800" dirty="0"/>
          </a:p>
          <a:p>
            <a:pPr marL="287655" indent="-287655" fontAlgn="base">
              <a:lnSpc>
                <a:spcPct val="100000"/>
              </a:lnSpc>
            </a:pPr>
            <a:r>
              <a:rPr lang="nl-NL" sz="1800" dirty="0"/>
              <a:t>Schrijf beknopt - in een paar zinnen - voor jezelf op: wat versta ik onder proactieve zorgplanning? Bij wie en wanneer start ik proactieve zorgplanning op? </a:t>
            </a:r>
            <a:endParaRPr lang="nl-NL" sz="1800" dirty="0">
              <a:cs typeface="Poppins"/>
            </a:endParaRPr>
          </a:p>
          <a:p>
            <a:pPr marL="287655" indent="-287655" fontAlgn="base">
              <a:lnSpc>
                <a:spcPct val="100000"/>
              </a:lnSpc>
            </a:pPr>
            <a:endParaRPr lang="nl-NL" sz="1800" dirty="0">
              <a:cs typeface="Poppins"/>
            </a:endParaRPr>
          </a:p>
          <a:p>
            <a:pPr marL="287655" indent="-287655" fontAlgn="base">
              <a:lnSpc>
                <a:spcPct val="100000"/>
              </a:lnSpc>
            </a:pPr>
            <a:r>
              <a:rPr lang="nl-NL" sz="1800" dirty="0">
                <a:cs typeface="Poppins"/>
              </a:rPr>
              <a:t>Schrijf voor jezelf op of je al hulpmiddelen of instrumenten gebruikt om </a:t>
            </a:r>
            <a:r>
              <a:rPr lang="nl-NL" sz="1800">
                <a:cs typeface="Poppins"/>
              </a:rPr>
              <a:t>proactieve zorgplanning in </a:t>
            </a:r>
            <a:r>
              <a:rPr lang="nl-NL" sz="1800" dirty="0">
                <a:cs typeface="Poppins"/>
              </a:rPr>
              <a:t>de praktijk toe te passen en zo ja, welke.</a:t>
            </a:r>
          </a:p>
          <a:p>
            <a:pPr marL="0" indent="0">
              <a:lnSpc>
                <a:spcPct val="100000"/>
              </a:lnSpc>
              <a:buNone/>
            </a:pPr>
            <a:endParaRPr lang="nl-NL" sz="1800" dirty="0">
              <a:cs typeface="Poppins"/>
            </a:endParaRPr>
          </a:p>
          <a:p>
            <a:pPr marL="287655" indent="-287655" fontAlgn="base">
              <a:lnSpc>
                <a:spcPct val="100000"/>
              </a:lnSpc>
            </a:pPr>
            <a:r>
              <a:rPr lang="nl-NL" sz="1800" dirty="0"/>
              <a:t>Bespreek wat je hebt opgeschreven met degene naast je</a:t>
            </a:r>
            <a:endParaRPr lang="nl-NL" sz="1800" dirty="0">
              <a:cs typeface="Poppins"/>
            </a:endParaRPr>
          </a:p>
          <a:p>
            <a:pPr marL="0" indent="0" fontAlgn="base">
              <a:lnSpc>
                <a:spcPct val="100000"/>
              </a:lnSpc>
              <a:buFont typeface="Arial" panose="020B0604020202020204" pitchFamily="34" charset="0"/>
              <a:buNone/>
            </a:pPr>
            <a:endParaRPr lang="nl-NL" sz="1800" dirty="0"/>
          </a:p>
          <a:p>
            <a:pPr marL="0" indent="0" fontAlgn="base">
              <a:lnSpc>
                <a:spcPct val="100000"/>
              </a:lnSpc>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170210"/>
            <a:ext cx="6096000" cy="276999"/>
          </a:xfrm>
          <a:prstGeom prst="rect">
            <a:avLst/>
          </a:prstGeom>
          <a:noFill/>
        </p:spPr>
        <p:txBody>
          <a:bodyPr wrap="square">
            <a:spAutoFit/>
          </a:bodyPr>
          <a:lstStyle/>
          <a:p>
            <a:r>
              <a:rPr lang="nl-NL" sz="1200" u="sng"/>
              <a:t>https://www.youtube.com/watch?v=2cKzez7XAdY&amp;t=2s</a:t>
            </a:r>
          </a:p>
        </p:txBody>
      </p:sp>
      <p:pic>
        <p:nvPicPr>
          <p:cNvPr id="4" name="Afbeelding 3" descr="Afbeelding met tekst, kleding, persoon, tekenfilm&#10;&#10;Automatisch gegenereerde beschrijving">
            <a:extLst>
              <a:ext uri="{FF2B5EF4-FFF2-40B4-BE49-F238E27FC236}">
                <a16:creationId xmlns:a16="http://schemas.microsoft.com/office/drawing/2014/main" id="{50D68408-AD98-6D78-2524-E833E77F09B3}"/>
              </a:ext>
            </a:extLst>
          </p:cNvPr>
          <p:cNvPicPr>
            <a:picLocks noChangeAspect="1"/>
          </p:cNvPicPr>
          <p:nvPr/>
        </p:nvPicPr>
        <p:blipFill>
          <a:blip r:embed="rId3"/>
          <a:stretch>
            <a:fillRect/>
          </a:stretch>
        </p:blipFill>
        <p:spPr>
          <a:xfrm>
            <a:off x="2602734" y="1756216"/>
            <a:ext cx="5936014" cy="3340371"/>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r>
              <a:rPr lang="nl-NL" sz="1800" dirty="0">
                <a:solidFill>
                  <a:srgbClr val="1E3E85"/>
                </a:solidFill>
                <a:effectLst/>
                <a:latin typeface="Poppins"/>
                <a:ea typeface="Calibri"/>
                <a:cs typeface="Poppins"/>
              </a:rPr>
              <a:t>Om goede en passende medische zorg te bieden</a:t>
            </a:r>
            <a:r>
              <a:rPr lang="nl-NL" sz="1800" dirty="0">
                <a:solidFill>
                  <a:srgbClr val="1E3E85"/>
                </a:solidFill>
                <a:latin typeface="Poppins"/>
                <a:ea typeface="Calibri"/>
                <a:cs typeface="Poppins"/>
              </a:rPr>
              <a:t>,</a:t>
            </a:r>
            <a:r>
              <a:rPr lang="nl-NL" sz="1800" dirty="0">
                <a:solidFill>
                  <a:srgbClr val="1E3E85"/>
                </a:solidFill>
                <a:effectLst/>
                <a:latin typeface="Poppins"/>
                <a:ea typeface="Calibri"/>
                <a:cs typeface="Poppins"/>
              </a:rPr>
              <a:t> is het belangrijk tijdig te weten wat iemand wel of juist niet wil aan zorg. Door behandelwensen en -grenzen gezamenlijk te bespreken en vast te leggen</a:t>
            </a:r>
            <a:r>
              <a:rPr lang="nl-NL" sz="1800" dirty="0">
                <a:solidFill>
                  <a:srgbClr val="1E3E85"/>
                </a:solidFill>
                <a:latin typeface="Poppins"/>
                <a:ea typeface="Calibri"/>
                <a:cs typeface="Poppins"/>
              </a:rPr>
              <a:t>,</a:t>
            </a:r>
            <a:r>
              <a:rPr lang="nl-NL" sz="1800" dirty="0">
                <a:solidFill>
                  <a:srgbClr val="1E3E85"/>
                </a:solidFill>
                <a:effectLst/>
                <a:latin typeface="Poppins"/>
                <a:ea typeface="Calibri"/>
                <a:cs typeface="Poppins"/>
              </a:rPr>
              <a:t> kan hierop worden geanticipeerd. Zo kan de zorg afgestemd worden op </a:t>
            </a:r>
            <a:r>
              <a:rPr lang="nl-NL" sz="1800" b="1" dirty="0">
                <a:solidFill>
                  <a:srgbClr val="1E3E85"/>
                </a:solidFill>
                <a:effectLst/>
                <a:latin typeface="Poppins"/>
                <a:ea typeface="Calibri"/>
                <a:cs typeface="Poppins"/>
              </a:rPr>
              <a:t>persoonlijke wensen, waarden en behoeften</a:t>
            </a:r>
            <a:r>
              <a:rPr lang="nl-NL" sz="1800" dirty="0">
                <a:solidFill>
                  <a:srgbClr val="1E3E85"/>
                </a:solidFill>
                <a:effectLst/>
                <a:latin typeface="Poppins"/>
                <a:ea typeface="Calibri"/>
                <a:cs typeface="Poppins"/>
              </a:rPr>
              <a:t>. Deze proactieve zorgplanning – of ook wel ‘advance care planning’ - is van groot belang in stabiele, maar zeker ook in acute situaties. Voor elk individu, ongeacht de mate van kwetsbaarheid door ziekte, beperking of leeftijd.</a:t>
            </a:r>
            <a:endParaRPr lang="nl-NL" sz="1600" dirty="0">
              <a:latin typeface="Poppins"/>
              <a:ea typeface="Calibri"/>
              <a:cs typeface="Poppins"/>
            </a:endParaRPr>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2.xml><?xml version="1.0" encoding="utf-8"?>
<ds:datastoreItem xmlns:ds="http://schemas.openxmlformats.org/officeDocument/2006/customXml" ds:itemID="{747DDA02-B043-400C-B041-FE5F0A8E9178}">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A054F18-9B58-459F-B178-9F52D2EB9C41}">
  <ds:schemaRefs>
    <ds:schemaRef ds:uri="http://schemas.microsoft.com/office/2006/metadata/properties"/>
    <ds:schemaRef ds:uri="http://schemas.microsoft.com/office/infopath/2007/PartnerControls"/>
    <ds:schemaRef ds:uri="http://www.w3.org/XML/1998/namespace"/>
    <ds:schemaRef ds:uri="http://purl.org/dc/dcmitype/"/>
    <ds:schemaRef ds:uri="http://purl.org/dc/terms/"/>
    <ds:schemaRef ds:uri="http://schemas.microsoft.com/office/2006/documentManagement/types"/>
    <ds:schemaRef ds:uri="http://schemas.openxmlformats.org/package/2006/metadata/core-properties"/>
    <ds:schemaRef ds:uri="27e5a31e-3c06-4464-8960-dd0eb8e50dc0"/>
    <ds:schemaRef ds:uri="4a1757f0-5a9d-4771-b054-932f5e63bd10"/>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ZNL</Template>
  <TotalTime>27</TotalTime>
  <Words>3079</Words>
  <Application>Microsoft Office PowerPoint</Application>
  <PresentationFormat>Breedbeeld</PresentationFormat>
  <Paragraphs>306</Paragraphs>
  <Slides>21</Slides>
  <Notes>20</Notes>
  <HiddenSlides>0</HiddenSlides>
  <MMClips>0</MMClips>
  <ScaleCrop>false</ScaleCrop>
  <HeadingPairs>
    <vt:vector size="6" baseType="variant">
      <vt:variant>
        <vt:lpstr>Gebruikte lettertypen</vt:lpstr>
      </vt:variant>
      <vt:variant>
        <vt:i4>9</vt:i4>
      </vt:variant>
      <vt:variant>
        <vt:lpstr>Thema</vt:lpstr>
      </vt:variant>
      <vt:variant>
        <vt:i4>1</vt:i4>
      </vt:variant>
      <vt:variant>
        <vt:lpstr>Diatitels</vt:lpstr>
      </vt:variant>
      <vt:variant>
        <vt:i4>21</vt:i4>
      </vt:variant>
    </vt:vector>
  </HeadingPairs>
  <TitlesOfParts>
    <vt:vector size="31" baseType="lpstr">
      <vt:lpstr>Arial</vt:lpstr>
      <vt:lpstr>Calibri</vt:lpstr>
      <vt:lpstr>Maiandra GD</vt:lpstr>
      <vt:lpstr>Maiandra GD,Sans-Serif</vt:lpstr>
      <vt:lpstr>Poppins</vt:lpstr>
      <vt:lpstr>Poppins Light</vt:lpstr>
      <vt:lpstr>Poppins Medium</vt:lpstr>
      <vt:lpstr>Poppins,Sans-Serif</vt:lpstr>
      <vt:lpstr>Segoe UI</vt:lpstr>
      <vt:lpstr>PZNL</vt:lpstr>
      <vt:lpstr>Disclaimer</vt:lpstr>
      <vt:lpstr>Workshop  ‘Praten over de toekomst'</vt:lpstr>
      <vt:lpstr>Inleiding</vt:lpstr>
      <vt:lpstr>Programma</vt:lpstr>
      <vt:lpstr>Voorstelronde</vt:lpstr>
      <vt:lpstr>Leerdoelen</vt:lpstr>
      <vt:lpstr>Wat is proactieve zorgplanning?</vt:lpstr>
      <vt:lpstr>Animatie Proactieve zorgplanning</vt:lpstr>
      <vt:lpstr>Essentie Proactieve zorgplanning</vt:lpstr>
      <vt:lpstr>Kwaliteitskader</vt:lpstr>
      <vt:lpstr>Aan de slag - Casus I</vt:lpstr>
      <vt:lpstr>Aan de slag</vt:lpstr>
      <vt:lpstr>Aan de slag - Casus II</vt:lpstr>
      <vt:lpstr>Aan de slag - Casus II</vt:lpstr>
      <vt:lpstr>Aan de slag</vt:lpstr>
      <vt:lpstr>Aan de slag</vt:lpstr>
      <vt:lpstr>Reflecteren op eigen handelen - Casus III</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59</cp:revision>
  <dcterms:created xsi:type="dcterms:W3CDTF">2023-11-22T08:40:12Z</dcterms:created>
  <dcterms:modified xsi:type="dcterms:W3CDTF">2024-12-02T15: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